
<file path=[Content_Types].xml><?xml version="1.0" encoding="utf-8"?>
<Types xmlns="http://schemas.openxmlformats.org/package/2006/content-types">
  <Default Extension="bin" ContentType="image/jpeg"/>
  <Default Extension="emf" ContentType="image/x-emf"/>
  <Default Extension="gif" ContentType="image/gif"/>
  <Default Extension="jfif" ContentType="image/jpeg"/>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6.xml" ContentType="application/vnd.openxmlformats-officedocument.presentationml.tags+xml"/>
  <Override PartName="/ppt/notesSlides/notesSlide2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0.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1.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4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3.xml" ContentType="application/vnd.openxmlformats-officedocument.presentationml.notesSlide+xml"/>
  <Override PartName="/ppt/tags/tag23.xml" ContentType="application/vnd.openxmlformats-officedocument.presentationml.tags+xml"/>
  <Override PartName="/ppt/notesSlides/notesSlide4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4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4" r:id="rId12"/>
    <p:sldMasterId id="2147483760" r:id="rId13"/>
    <p:sldMasterId id="2147483766" r:id="rId14"/>
    <p:sldMasterId id="2147483813" r:id="rId15"/>
  </p:sldMasterIdLst>
  <p:notesMasterIdLst>
    <p:notesMasterId r:id="rId76"/>
  </p:notesMasterIdLst>
  <p:handoutMasterIdLst>
    <p:handoutMasterId r:id="rId77"/>
  </p:handoutMasterIdLst>
  <p:sldIdLst>
    <p:sldId id="260" r:id="rId16"/>
    <p:sldId id="562" r:id="rId17"/>
    <p:sldId id="561" r:id="rId18"/>
    <p:sldId id="534" r:id="rId19"/>
    <p:sldId id="481" r:id="rId20"/>
    <p:sldId id="606" r:id="rId21"/>
    <p:sldId id="1597" r:id="rId22"/>
    <p:sldId id="1599" r:id="rId23"/>
    <p:sldId id="1595" r:id="rId24"/>
    <p:sldId id="1596" r:id="rId25"/>
    <p:sldId id="257" r:id="rId26"/>
    <p:sldId id="622" r:id="rId27"/>
    <p:sldId id="598" r:id="rId28"/>
    <p:sldId id="596" r:id="rId29"/>
    <p:sldId id="599" r:id="rId30"/>
    <p:sldId id="644" r:id="rId31"/>
    <p:sldId id="560" r:id="rId32"/>
    <p:sldId id="563" r:id="rId33"/>
    <p:sldId id="571" r:id="rId34"/>
    <p:sldId id="572" r:id="rId35"/>
    <p:sldId id="1600" r:id="rId36"/>
    <p:sldId id="573" r:id="rId37"/>
    <p:sldId id="607" r:id="rId38"/>
    <p:sldId id="603" r:id="rId39"/>
    <p:sldId id="623" r:id="rId40"/>
    <p:sldId id="624" r:id="rId41"/>
    <p:sldId id="633" r:id="rId42"/>
    <p:sldId id="604" r:id="rId43"/>
    <p:sldId id="462" r:id="rId44"/>
    <p:sldId id="1594" r:id="rId45"/>
    <p:sldId id="1593" r:id="rId46"/>
    <p:sldId id="1598" r:id="rId47"/>
    <p:sldId id="574" r:id="rId48"/>
    <p:sldId id="575" r:id="rId49"/>
    <p:sldId id="576" r:id="rId50"/>
    <p:sldId id="577" r:id="rId51"/>
    <p:sldId id="578" r:id="rId52"/>
    <p:sldId id="579" r:id="rId53"/>
    <p:sldId id="580" r:id="rId54"/>
    <p:sldId id="635" r:id="rId55"/>
    <p:sldId id="634" r:id="rId56"/>
    <p:sldId id="628" r:id="rId57"/>
    <p:sldId id="636" r:id="rId58"/>
    <p:sldId id="629" r:id="rId59"/>
    <p:sldId id="637" r:id="rId60"/>
    <p:sldId id="630" r:id="rId61"/>
    <p:sldId id="638" r:id="rId62"/>
    <p:sldId id="632" r:id="rId63"/>
    <p:sldId id="639" r:id="rId64"/>
    <p:sldId id="626" r:id="rId65"/>
    <p:sldId id="627" r:id="rId66"/>
    <p:sldId id="642" r:id="rId67"/>
    <p:sldId id="631" r:id="rId68"/>
    <p:sldId id="640" r:id="rId69"/>
    <p:sldId id="641" r:id="rId70"/>
    <p:sldId id="581" r:id="rId71"/>
    <p:sldId id="582" r:id="rId72"/>
    <p:sldId id="583" r:id="rId73"/>
    <p:sldId id="584" r:id="rId74"/>
    <p:sldId id="259" r:id="rId75"/>
  </p:sldIdLst>
  <p:sldSz cx="12192000" cy="6858000"/>
  <p:notesSz cx="6858000" cy="9144000"/>
  <p:custDataLst>
    <p:tags r:id="rId7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562"/>
          </p14:sldIdLst>
        </p14:section>
        <p14:section name="Lesson 1: SQL Server Query Execution" id="{25ADF4C8-2200-4410-9F45-B05F5BA6D4E6}">
          <p14:sldIdLst>
            <p14:sldId id="561"/>
            <p14:sldId id="534"/>
            <p14:sldId id="481"/>
            <p14:sldId id="606"/>
            <p14:sldId id="1597"/>
            <p14:sldId id="1599"/>
            <p14:sldId id="1595"/>
            <p14:sldId id="1596"/>
            <p14:sldId id="257"/>
            <p14:sldId id="622"/>
            <p14:sldId id="598"/>
            <p14:sldId id="596"/>
            <p14:sldId id="599"/>
            <p14:sldId id="644"/>
            <p14:sldId id="560"/>
            <p14:sldId id="563"/>
          </p14:sldIdLst>
        </p14:section>
        <p14:section name="Lesson 2: SQL Server Query Plan Analysis" id="{85626129-1C31-480E-AD3C-8186F26405A3}">
          <p14:sldIdLst>
            <p14:sldId id="571"/>
            <p14:sldId id="572"/>
            <p14:sldId id="1600"/>
            <p14:sldId id="573"/>
            <p14:sldId id="607"/>
            <p14:sldId id="603"/>
            <p14:sldId id="623"/>
            <p14:sldId id="624"/>
            <p14:sldId id="633"/>
            <p14:sldId id="604"/>
            <p14:sldId id="462"/>
            <p14:sldId id="1594"/>
            <p14:sldId id="1593"/>
            <p14:sldId id="1598"/>
            <p14:sldId id="574"/>
            <p14:sldId id="575"/>
            <p14:sldId id="576"/>
            <p14:sldId id="577"/>
          </p14:sldIdLst>
        </p14:section>
        <p14:section name="Lesson 3: SQL Server Intelligent Query Processing" id="{C164F977-020D-4418-9DE6-021C7FD230FE}">
          <p14:sldIdLst>
            <p14:sldId id="578"/>
            <p14:sldId id="579"/>
            <p14:sldId id="580"/>
            <p14:sldId id="635"/>
            <p14:sldId id="634"/>
            <p14:sldId id="628"/>
            <p14:sldId id="636"/>
            <p14:sldId id="629"/>
            <p14:sldId id="637"/>
            <p14:sldId id="630"/>
            <p14:sldId id="638"/>
            <p14:sldId id="632"/>
            <p14:sldId id="639"/>
            <p14:sldId id="626"/>
            <p14:sldId id="627"/>
            <p14:sldId id="642"/>
            <p14:sldId id="631"/>
            <p14:sldId id="640"/>
            <p14:sldId id="641"/>
            <p14:sldId id="581"/>
            <p14:sldId id="582"/>
            <p14:sldId id="583"/>
            <p14:sldId id="584"/>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96" autoAdjust="0"/>
    <p:restoredTop sz="64844" autoAdjust="0"/>
  </p:normalViewPr>
  <p:slideViewPr>
    <p:cSldViewPr showGuides="1">
      <p:cViewPr varScale="1">
        <p:scale>
          <a:sx n="68" d="100"/>
          <a:sy n="68" d="100"/>
        </p:scale>
        <p:origin x="1830" y="60"/>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microsoft.com/office/2016/11/relationships/changesInfo" Target="changesInfos/changesInfo1.xml"/><Relationship Id="rId16" Type="http://schemas.openxmlformats.org/officeDocument/2006/relationships/slide" Target="slides/slide1.xml"/><Relationship Id="rId11" Type="http://schemas.openxmlformats.org/officeDocument/2006/relationships/customXml" Target="../customXml/item11.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commentAuthors" Target="commentAuthors.xml"/><Relationship Id="rId5" Type="http://schemas.openxmlformats.org/officeDocument/2006/relationships/customXml" Target="../customXml/item5.xml"/><Relationship Id="rId61" Type="http://schemas.openxmlformats.org/officeDocument/2006/relationships/slide" Target="slides/slide46.xml"/><Relationship Id="rId82" Type="http://schemas.openxmlformats.org/officeDocument/2006/relationships/theme" Target="theme/theme1.xml"/><Relationship Id="rId19" Type="http://schemas.openxmlformats.org/officeDocument/2006/relationships/slide" Target="slides/slide4.xml"/><Relationship Id="rId14" Type="http://schemas.openxmlformats.org/officeDocument/2006/relationships/slideMaster" Target="slideMasters/slideMaster3.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handoutMaster" Target="handoutMasters/handoutMaster1.xml"/><Relationship Id="rId8" Type="http://schemas.openxmlformats.org/officeDocument/2006/relationships/customXml" Target="../customXml/item8.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4.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customXml" Target="../customXml/item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2.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slide" Target="slides/slide56.xml"/><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Valero" userId="31dd2ff7-9a08-462f-9096-6c487a317220" providerId="ADAL" clId="{13C66EB5-766D-4A69-8EF8-1B215228E3C9}"/>
    <pc:docChg chg="undo redo custSel addSld delSld modSld sldOrd modSection">
      <pc:chgData name="Daniel Valero" userId="31dd2ff7-9a08-462f-9096-6c487a317220" providerId="ADAL" clId="{13C66EB5-766D-4A69-8EF8-1B215228E3C9}" dt="2020-02-26T19:13:33.900" v="5405" actId="14100"/>
      <pc:docMkLst>
        <pc:docMk/>
      </pc:docMkLst>
      <pc:sldChg chg="add del">
        <pc:chgData name="Daniel Valero" userId="31dd2ff7-9a08-462f-9096-6c487a317220" providerId="ADAL" clId="{13C66EB5-766D-4A69-8EF8-1B215228E3C9}" dt="2020-02-24T20:29:19.383" v="439"/>
        <pc:sldMkLst>
          <pc:docMk/>
          <pc:sldMk cId="1600500149" sldId="256"/>
        </pc:sldMkLst>
      </pc:sldChg>
      <pc:sldChg chg="addSp delSp modSp mod ord modNotesTx">
        <pc:chgData name="Daniel Valero" userId="31dd2ff7-9a08-462f-9096-6c487a317220" providerId="ADAL" clId="{13C66EB5-766D-4A69-8EF8-1B215228E3C9}" dt="2020-02-25T18:43:21.913" v="4328" actId="20577"/>
        <pc:sldMkLst>
          <pc:docMk/>
          <pc:sldMk cId="3235270007" sldId="257"/>
        </pc:sldMkLst>
        <pc:spChg chg="mod">
          <ac:chgData name="Daniel Valero" userId="31dd2ff7-9a08-462f-9096-6c487a317220" providerId="ADAL" clId="{13C66EB5-766D-4A69-8EF8-1B215228E3C9}" dt="2020-02-24T19:37:17.212" v="34" actId="790"/>
          <ac:spMkLst>
            <pc:docMk/>
            <pc:sldMk cId="3235270007" sldId="257"/>
            <ac:spMk id="2" creationId="{EB67312A-9819-43C6-8D84-D9136E6CFFCC}"/>
          </ac:spMkLst>
        </pc:spChg>
        <pc:spChg chg="mod">
          <ac:chgData name="Daniel Valero" userId="31dd2ff7-9a08-462f-9096-6c487a317220" providerId="ADAL" clId="{13C66EB5-766D-4A69-8EF8-1B215228E3C9}" dt="2020-02-25T18:31:54.496" v="4155" actId="20577"/>
          <ac:spMkLst>
            <pc:docMk/>
            <pc:sldMk cId="3235270007" sldId="257"/>
            <ac:spMk id="3" creationId="{F35E8CBB-5A7D-4DEF-BAF7-8DD5D042F9E0}"/>
          </ac:spMkLst>
        </pc:spChg>
        <pc:spChg chg="del mod">
          <ac:chgData name="Daniel Valero" userId="31dd2ff7-9a08-462f-9096-6c487a317220" providerId="ADAL" clId="{13C66EB5-766D-4A69-8EF8-1B215228E3C9}" dt="2020-02-25T18:34:17.575" v="4171" actId="478"/>
          <ac:spMkLst>
            <pc:docMk/>
            <pc:sldMk cId="3235270007" sldId="257"/>
            <ac:spMk id="4" creationId="{F3616A99-090F-45E1-9334-58D58B148205}"/>
          </ac:spMkLst>
        </pc:spChg>
        <pc:spChg chg="add del mod">
          <ac:chgData name="Daniel Valero" userId="31dd2ff7-9a08-462f-9096-6c487a317220" providerId="ADAL" clId="{13C66EB5-766D-4A69-8EF8-1B215228E3C9}" dt="2020-02-25T18:33:58.847" v="4164" actId="478"/>
          <ac:spMkLst>
            <pc:docMk/>
            <pc:sldMk cId="3235270007" sldId="257"/>
            <ac:spMk id="6" creationId="{169E72AA-BB18-4896-B740-EFF2AF1D1445}"/>
          </ac:spMkLst>
        </pc:spChg>
        <pc:spChg chg="add del mod">
          <ac:chgData name="Daniel Valero" userId="31dd2ff7-9a08-462f-9096-6c487a317220" providerId="ADAL" clId="{13C66EB5-766D-4A69-8EF8-1B215228E3C9}" dt="2020-02-25T18:34:13.966" v="4167" actId="478"/>
          <ac:spMkLst>
            <pc:docMk/>
            <pc:sldMk cId="3235270007" sldId="257"/>
            <ac:spMk id="7" creationId="{1ACA28AE-0391-4926-ADCC-37A802323BB7}"/>
          </ac:spMkLst>
        </pc:spChg>
        <pc:spChg chg="add del mod">
          <ac:chgData name="Daniel Valero" userId="31dd2ff7-9a08-462f-9096-6c487a317220" providerId="ADAL" clId="{13C66EB5-766D-4A69-8EF8-1B215228E3C9}" dt="2020-02-25T18:34:14.525" v="4168" actId="478"/>
          <ac:spMkLst>
            <pc:docMk/>
            <pc:sldMk cId="3235270007" sldId="257"/>
            <ac:spMk id="8" creationId="{11E6287D-903E-465A-BF53-468599B77B3D}"/>
          </ac:spMkLst>
        </pc:spChg>
        <pc:spChg chg="add del mod">
          <ac:chgData name="Daniel Valero" userId="31dd2ff7-9a08-462f-9096-6c487a317220" providerId="ADAL" clId="{13C66EB5-766D-4A69-8EF8-1B215228E3C9}" dt="2020-02-25T18:34:13.381" v="4166" actId="478"/>
          <ac:spMkLst>
            <pc:docMk/>
            <pc:sldMk cId="3235270007" sldId="257"/>
            <ac:spMk id="9" creationId="{C3C59E8B-3CB8-4F4A-B6E6-7EBF7C5DC086}"/>
          </ac:spMkLst>
        </pc:spChg>
        <pc:graphicFrameChg chg="add del mod">
          <ac:chgData name="Daniel Valero" userId="31dd2ff7-9a08-462f-9096-6c487a317220" providerId="ADAL" clId="{13C66EB5-766D-4A69-8EF8-1B215228E3C9}" dt="2020-02-25T18:33:57.384" v="4163" actId="478"/>
          <ac:graphicFrameMkLst>
            <pc:docMk/>
            <pc:sldMk cId="3235270007" sldId="257"/>
            <ac:graphicFrameMk id="5" creationId="{D7AA4849-9265-4768-8404-82A32BB2007A}"/>
          </ac:graphicFrameMkLst>
        </pc:graphicFrameChg>
        <pc:graphicFrameChg chg="add mod modGraphic">
          <ac:chgData name="Daniel Valero" userId="31dd2ff7-9a08-462f-9096-6c487a317220" providerId="ADAL" clId="{13C66EB5-766D-4A69-8EF8-1B215228E3C9}" dt="2020-02-25T18:43:21.913" v="4328" actId="20577"/>
          <ac:graphicFrameMkLst>
            <pc:docMk/>
            <pc:sldMk cId="3235270007" sldId="257"/>
            <ac:graphicFrameMk id="10" creationId="{2E361A70-62E8-4C24-8093-F2EEBBF0058D}"/>
          </ac:graphicFrameMkLst>
        </pc:graphicFrameChg>
      </pc:sldChg>
      <pc:sldChg chg="add del">
        <pc:chgData name="Daniel Valero" userId="31dd2ff7-9a08-462f-9096-6c487a317220" providerId="ADAL" clId="{13C66EB5-766D-4A69-8EF8-1B215228E3C9}" dt="2020-02-24T20:29:19.383" v="439"/>
        <pc:sldMkLst>
          <pc:docMk/>
          <pc:sldMk cId="1441160563" sldId="337"/>
        </pc:sldMkLst>
      </pc:sldChg>
      <pc:sldChg chg="modSp mod">
        <pc:chgData name="Daniel Valero" userId="31dd2ff7-9a08-462f-9096-6c487a317220" providerId="ADAL" clId="{13C66EB5-766D-4A69-8EF8-1B215228E3C9}" dt="2020-02-25T17:46:31.782" v="3412" actId="20577"/>
        <pc:sldMkLst>
          <pc:docMk/>
          <pc:sldMk cId="2621600474" sldId="534"/>
        </pc:sldMkLst>
        <pc:spChg chg="mod">
          <ac:chgData name="Daniel Valero" userId="31dd2ff7-9a08-462f-9096-6c487a317220" providerId="ADAL" clId="{13C66EB5-766D-4A69-8EF8-1B215228E3C9}" dt="2020-02-25T17:46:31.782" v="3412" actId="20577"/>
          <ac:spMkLst>
            <pc:docMk/>
            <pc:sldMk cId="2621600474" sldId="534"/>
            <ac:spMk id="5" creationId="{55182462-DFDF-4D48-A92C-42FD52821C4E}"/>
          </ac:spMkLst>
        </pc:spChg>
      </pc:sldChg>
      <pc:sldChg chg="modSp mod">
        <pc:chgData name="Daniel Valero" userId="31dd2ff7-9a08-462f-9096-6c487a317220" providerId="ADAL" clId="{13C66EB5-766D-4A69-8EF8-1B215228E3C9}" dt="2020-02-25T20:33:34.288" v="5279" actId="5793"/>
        <pc:sldMkLst>
          <pc:docMk/>
          <pc:sldMk cId="2034824179" sldId="565"/>
        </pc:sldMkLst>
        <pc:spChg chg="mod">
          <ac:chgData name="Daniel Valero" userId="31dd2ff7-9a08-462f-9096-6c487a317220" providerId="ADAL" clId="{13C66EB5-766D-4A69-8EF8-1B215228E3C9}" dt="2020-02-25T20:33:34.288" v="5279" actId="5793"/>
          <ac:spMkLst>
            <pc:docMk/>
            <pc:sldMk cId="2034824179" sldId="565"/>
            <ac:spMk id="5" creationId="{55182462-DFDF-4D48-A92C-42FD52821C4E}"/>
          </ac:spMkLst>
        </pc:spChg>
      </pc:sldChg>
      <pc:sldChg chg="addSp delSp modSp mod ord modNotesTx">
        <pc:chgData name="Daniel Valero" userId="31dd2ff7-9a08-462f-9096-6c487a317220" providerId="ADAL" clId="{13C66EB5-766D-4A69-8EF8-1B215228E3C9}" dt="2020-02-25T20:32:59.405" v="5276" actId="1076"/>
        <pc:sldMkLst>
          <pc:docMk/>
          <pc:sldMk cId="4221783869" sldId="566"/>
        </pc:sldMkLst>
        <pc:spChg chg="mod">
          <ac:chgData name="Daniel Valero" userId="31dd2ff7-9a08-462f-9096-6c487a317220" providerId="ADAL" clId="{13C66EB5-766D-4A69-8EF8-1B215228E3C9}" dt="2020-02-25T15:04:00.943" v="2354" actId="20577"/>
          <ac:spMkLst>
            <pc:docMk/>
            <pc:sldMk cId="4221783869" sldId="566"/>
            <ac:spMk id="2" creationId="{EB67312A-9819-43C6-8D84-D9136E6CFFCC}"/>
          </ac:spMkLst>
        </pc:spChg>
        <pc:spChg chg="mod">
          <ac:chgData name="Daniel Valero" userId="31dd2ff7-9a08-462f-9096-6c487a317220" providerId="ADAL" clId="{13C66EB5-766D-4A69-8EF8-1B215228E3C9}" dt="2020-02-25T20:31:04.613" v="5229" actId="20577"/>
          <ac:spMkLst>
            <pc:docMk/>
            <pc:sldMk cId="4221783869" sldId="566"/>
            <ac:spMk id="3" creationId="{F35E8CBB-5A7D-4DEF-BAF7-8DD5D042F9E0}"/>
          </ac:spMkLst>
        </pc:spChg>
        <pc:spChg chg="del mod">
          <ac:chgData name="Daniel Valero" userId="31dd2ff7-9a08-462f-9096-6c487a317220" providerId="ADAL" clId="{13C66EB5-766D-4A69-8EF8-1B215228E3C9}" dt="2020-02-25T15:04:03.718" v="2355" actId="478"/>
          <ac:spMkLst>
            <pc:docMk/>
            <pc:sldMk cId="4221783869" sldId="566"/>
            <ac:spMk id="4" creationId="{F3616A99-090F-45E1-9334-58D58B148205}"/>
          </ac:spMkLst>
        </pc:spChg>
        <pc:spChg chg="add del mod">
          <ac:chgData name="Daniel Valero" userId="31dd2ff7-9a08-462f-9096-6c487a317220" providerId="ADAL" clId="{13C66EB5-766D-4A69-8EF8-1B215228E3C9}" dt="2020-02-25T20:32:40.430" v="5264" actId="478"/>
          <ac:spMkLst>
            <pc:docMk/>
            <pc:sldMk cId="4221783869" sldId="566"/>
            <ac:spMk id="5" creationId="{9FD93DC8-1DF7-4B66-8DBA-227D054D5066}"/>
          </ac:spMkLst>
        </pc:spChg>
        <pc:spChg chg="add del mod">
          <ac:chgData name="Daniel Valero" userId="31dd2ff7-9a08-462f-9096-6c487a317220" providerId="ADAL" clId="{13C66EB5-766D-4A69-8EF8-1B215228E3C9}" dt="2020-02-25T20:32:37.647" v="5262" actId="478"/>
          <ac:spMkLst>
            <pc:docMk/>
            <pc:sldMk cId="4221783869" sldId="566"/>
            <ac:spMk id="6" creationId="{2D8F3FCD-8B5B-4696-B96D-6F972D025CC3}"/>
          </ac:spMkLst>
        </pc:spChg>
        <pc:spChg chg="add del">
          <ac:chgData name="Daniel Valero" userId="31dd2ff7-9a08-462f-9096-6c487a317220" providerId="ADAL" clId="{13C66EB5-766D-4A69-8EF8-1B215228E3C9}" dt="2020-02-25T15:04:26" v="2365"/>
          <ac:spMkLst>
            <pc:docMk/>
            <pc:sldMk cId="4221783869" sldId="566"/>
            <ac:spMk id="7" creationId="{8FB96DD0-5C3C-485F-B679-533BDF152627}"/>
          </ac:spMkLst>
        </pc:spChg>
        <pc:spChg chg="add del">
          <ac:chgData name="Daniel Valero" userId="31dd2ff7-9a08-462f-9096-6c487a317220" providerId="ADAL" clId="{13C66EB5-766D-4A69-8EF8-1B215228E3C9}" dt="2020-02-25T15:04:26" v="2365"/>
          <ac:spMkLst>
            <pc:docMk/>
            <pc:sldMk cId="4221783869" sldId="566"/>
            <ac:spMk id="8" creationId="{A0242834-8C5A-492F-BBCE-AE40F4E89819}"/>
          </ac:spMkLst>
        </pc:spChg>
        <pc:graphicFrameChg chg="add mod modGraphic">
          <ac:chgData name="Daniel Valero" userId="31dd2ff7-9a08-462f-9096-6c487a317220" providerId="ADAL" clId="{13C66EB5-766D-4A69-8EF8-1B215228E3C9}" dt="2020-02-25T20:32:59.405" v="5276" actId="1076"/>
          <ac:graphicFrameMkLst>
            <pc:docMk/>
            <pc:sldMk cId="4221783869" sldId="566"/>
            <ac:graphicFrameMk id="9" creationId="{C7E54BA4-B9D5-4384-9A0F-2BBF5913642C}"/>
          </ac:graphicFrameMkLst>
        </pc:graphicFrameChg>
      </pc:sldChg>
      <pc:sldChg chg="modSp">
        <pc:chgData name="Daniel Valero" userId="31dd2ff7-9a08-462f-9096-6c487a317220" providerId="ADAL" clId="{13C66EB5-766D-4A69-8EF8-1B215228E3C9}" dt="2020-02-24T23:45:23.839" v="2338"/>
        <pc:sldMkLst>
          <pc:docMk/>
          <pc:sldMk cId="2314306782" sldId="572"/>
        </pc:sldMkLst>
        <pc:spChg chg="mod">
          <ac:chgData name="Daniel Valero" userId="31dd2ff7-9a08-462f-9096-6c487a317220" providerId="ADAL" clId="{13C66EB5-766D-4A69-8EF8-1B215228E3C9}" dt="2020-02-24T23:45:23.839" v="2338"/>
          <ac:spMkLst>
            <pc:docMk/>
            <pc:sldMk cId="2314306782" sldId="572"/>
            <ac:spMk id="5" creationId="{55182462-DFDF-4D48-A92C-42FD52821C4E}"/>
          </ac:spMkLst>
        </pc:spChg>
      </pc:sldChg>
      <pc:sldChg chg="addSp delSp modSp mod">
        <pc:chgData name="Daniel Valero" userId="31dd2ff7-9a08-462f-9096-6c487a317220" providerId="ADAL" clId="{13C66EB5-766D-4A69-8EF8-1B215228E3C9}" dt="2020-02-24T21:03:07.738" v="752"/>
        <pc:sldMkLst>
          <pc:docMk/>
          <pc:sldMk cId="4248838292" sldId="573"/>
        </pc:sldMkLst>
        <pc:spChg chg="mod">
          <ac:chgData name="Daniel Valero" userId="31dd2ff7-9a08-462f-9096-6c487a317220" providerId="ADAL" clId="{13C66EB5-766D-4A69-8EF8-1B215228E3C9}" dt="2020-02-24T20:58:24.816" v="740"/>
          <ac:spMkLst>
            <pc:docMk/>
            <pc:sldMk cId="4248838292" sldId="573"/>
            <ac:spMk id="2" creationId="{EB67312A-9819-43C6-8D84-D9136E6CFFCC}"/>
          </ac:spMkLst>
        </pc:spChg>
        <pc:spChg chg="mod">
          <ac:chgData name="Daniel Valero" userId="31dd2ff7-9a08-462f-9096-6c487a317220" providerId="ADAL" clId="{13C66EB5-766D-4A69-8EF8-1B215228E3C9}" dt="2020-02-24T20:58:04.323" v="735" actId="790"/>
          <ac:spMkLst>
            <pc:docMk/>
            <pc:sldMk cId="4248838292" sldId="573"/>
            <ac:spMk id="3" creationId="{F35E8CBB-5A7D-4DEF-BAF7-8DD5D042F9E0}"/>
          </ac:spMkLst>
        </pc:spChg>
        <pc:spChg chg="mod">
          <ac:chgData name="Daniel Valero" userId="31dd2ff7-9a08-462f-9096-6c487a317220" providerId="ADAL" clId="{13C66EB5-766D-4A69-8EF8-1B215228E3C9}" dt="2020-02-24T21:00:09.565" v="748" actId="12"/>
          <ac:spMkLst>
            <pc:docMk/>
            <pc:sldMk cId="4248838292" sldId="573"/>
            <ac:spMk id="4" creationId="{F3616A99-090F-45E1-9334-58D58B148205}"/>
          </ac:spMkLst>
        </pc:spChg>
        <pc:spChg chg="add del">
          <ac:chgData name="Daniel Valero" userId="31dd2ff7-9a08-462f-9096-6c487a317220" providerId="ADAL" clId="{13C66EB5-766D-4A69-8EF8-1B215228E3C9}" dt="2020-02-24T20:58:47.714" v="744"/>
          <ac:spMkLst>
            <pc:docMk/>
            <pc:sldMk cId="4248838292" sldId="573"/>
            <ac:spMk id="5" creationId="{D1DA791C-2802-4363-9F7A-08C2ADF81773}"/>
          </ac:spMkLst>
        </pc:spChg>
        <pc:spChg chg="add del mod">
          <ac:chgData name="Daniel Valero" userId="31dd2ff7-9a08-462f-9096-6c487a317220" providerId="ADAL" clId="{13C66EB5-766D-4A69-8EF8-1B215228E3C9}" dt="2020-02-24T21:03:07.738" v="752"/>
          <ac:spMkLst>
            <pc:docMk/>
            <pc:sldMk cId="4248838292" sldId="573"/>
            <ac:spMk id="6" creationId="{8D985DAD-D7F2-43B1-9024-5E6265FE16D7}"/>
          </ac:spMkLst>
        </pc:spChg>
      </pc:sldChg>
      <pc:sldChg chg="addSp delSp modSp mod">
        <pc:chgData name="Daniel Valero" userId="31dd2ff7-9a08-462f-9096-6c487a317220" providerId="ADAL" clId="{13C66EB5-766D-4A69-8EF8-1B215228E3C9}" dt="2020-02-25T20:15:26.557" v="5172" actId="1076"/>
        <pc:sldMkLst>
          <pc:docMk/>
          <pc:sldMk cId="2551646555" sldId="580"/>
        </pc:sldMkLst>
        <pc:spChg chg="mod">
          <ac:chgData name="Daniel Valero" userId="31dd2ff7-9a08-462f-9096-6c487a317220" providerId="ADAL" clId="{13C66EB5-766D-4A69-8EF8-1B215228E3C9}" dt="2020-02-25T20:13:59.857" v="5149"/>
          <ac:spMkLst>
            <pc:docMk/>
            <pc:sldMk cId="2551646555" sldId="580"/>
            <ac:spMk id="2" creationId="{EB67312A-9819-43C6-8D84-D9136E6CFFCC}"/>
          </ac:spMkLst>
        </pc:spChg>
        <pc:spChg chg="mod">
          <ac:chgData name="Daniel Valero" userId="31dd2ff7-9a08-462f-9096-6c487a317220" providerId="ADAL" clId="{13C66EB5-766D-4A69-8EF8-1B215228E3C9}" dt="2020-02-25T20:14:06.249" v="5166" actId="6549"/>
          <ac:spMkLst>
            <pc:docMk/>
            <pc:sldMk cId="2551646555" sldId="580"/>
            <ac:spMk id="3" creationId="{F35E8CBB-5A7D-4DEF-BAF7-8DD5D042F9E0}"/>
          </ac:spMkLst>
        </pc:spChg>
        <pc:spChg chg="del mod">
          <ac:chgData name="Daniel Valero" userId="31dd2ff7-9a08-462f-9096-6c487a317220" providerId="ADAL" clId="{13C66EB5-766D-4A69-8EF8-1B215228E3C9}" dt="2020-02-25T20:14:09.256" v="5167" actId="478"/>
          <ac:spMkLst>
            <pc:docMk/>
            <pc:sldMk cId="2551646555" sldId="580"/>
            <ac:spMk id="4" creationId="{F3616A99-090F-45E1-9334-58D58B148205}"/>
          </ac:spMkLst>
        </pc:spChg>
        <pc:picChg chg="add mod">
          <ac:chgData name="Daniel Valero" userId="31dd2ff7-9a08-462f-9096-6c487a317220" providerId="ADAL" clId="{13C66EB5-766D-4A69-8EF8-1B215228E3C9}" dt="2020-02-25T20:15:26.557" v="5172" actId="1076"/>
          <ac:picMkLst>
            <pc:docMk/>
            <pc:sldMk cId="2551646555" sldId="580"/>
            <ac:picMk id="11266" creationId="{A26473B8-2991-46F4-B947-212ECFDF0973}"/>
          </ac:picMkLst>
        </pc:picChg>
      </pc:sldChg>
      <pc:sldChg chg="del">
        <pc:chgData name="Daniel Valero" userId="31dd2ff7-9a08-462f-9096-6c487a317220" providerId="ADAL" clId="{13C66EB5-766D-4A69-8EF8-1B215228E3C9}" dt="2020-02-24T20:56:41.314" v="734" actId="47"/>
        <pc:sldMkLst>
          <pc:docMk/>
          <pc:sldMk cId="3372985199" sldId="592"/>
        </pc:sldMkLst>
      </pc:sldChg>
      <pc:sldChg chg="addSp delSp modSp del mod">
        <pc:chgData name="Daniel Valero" userId="31dd2ff7-9a08-462f-9096-6c487a317220" providerId="ADAL" clId="{13C66EB5-766D-4A69-8EF8-1B215228E3C9}" dt="2020-02-25T17:42:42.129" v="3363" actId="47"/>
        <pc:sldMkLst>
          <pc:docMk/>
          <pc:sldMk cId="3536691941" sldId="593"/>
        </pc:sldMkLst>
        <pc:spChg chg="mod">
          <ac:chgData name="Daniel Valero" userId="31dd2ff7-9a08-462f-9096-6c487a317220" providerId="ADAL" clId="{13C66EB5-766D-4A69-8EF8-1B215228E3C9}" dt="2020-02-25T15:04:51.325" v="2387" actId="20577"/>
          <ac:spMkLst>
            <pc:docMk/>
            <pc:sldMk cId="3536691941" sldId="593"/>
            <ac:spMk id="4" creationId="{F3616A99-090F-45E1-9334-58D58B148205}"/>
          </ac:spMkLst>
        </pc:spChg>
        <pc:spChg chg="add del">
          <ac:chgData name="Daniel Valero" userId="31dd2ff7-9a08-462f-9096-6c487a317220" providerId="ADAL" clId="{13C66EB5-766D-4A69-8EF8-1B215228E3C9}" dt="2020-02-25T17:30:42.243" v="2683"/>
          <ac:spMkLst>
            <pc:docMk/>
            <pc:sldMk cId="3536691941" sldId="593"/>
            <ac:spMk id="7" creationId="{76F1FDD4-5051-4A8B-BD02-EEF3B5D8A557}"/>
          </ac:spMkLst>
        </pc:spChg>
        <pc:spChg chg="add del">
          <ac:chgData name="Daniel Valero" userId="31dd2ff7-9a08-462f-9096-6c487a317220" providerId="ADAL" clId="{13C66EB5-766D-4A69-8EF8-1B215228E3C9}" dt="2020-02-25T17:30:42.243" v="2683"/>
          <ac:spMkLst>
            <pc:docMk/>
            <pc:sldMk cId="3536691941" sldId="593"/>
            <ac:spMk id="8" creationId="{D88C590D-5451-4286-AD3C-CE4BDD0B6D99}"/>
          </ac:spMkLst>
        </pc:spChg>
        <pc:spChg chg="add del">
          <ac:chgData name="Daniel Valero" userId="31dd2ff7-9a08-462f-9096-6c487a317220" providerId="ADAL" clId="{13C66EB5-766D-4A69-8EF8-1B215228E3C9}" dt="2020-02-25T17:30:42.243" v="2683"/>
          <ac:spMkLst>
            <pc:docMk/>
            <pc:sldMk cId="3536691941" sldId="593"/>
            <ac:spMk id="9" creationId="{23B4EC1F-1578-41DD-B9A7-74DF8C8F951C}"/>
          </ac:spMkLst>
        </pc:spChg>
      </pc:sldChg>
      <pc:sldChg chg="del">
        <pc:chgData name="Daniel Valero" userId="31dd2ff7-9a08-462f-9096-6c487a317220" providerId="ADAL" clId="{13C66EB5-766D-4A69-8EF8-1B215228E3C9}" dt="2020-02-24T23:43:12.593" v="2337" actId="47"/>
        <pc:sldMkLst>
          <pc:docMk/>
          <pc:sldMk cId="649839447" sldId="594"/>
        </pc:sldMkLst>
      </pc:sldChg>
      <pc:sldChg chg="addSp delSp modSp add mod modNotesTx">
        <pc:chgData name="Daniel Valero" userId="31dd2ff7-9a08-462f-9096-6c487a317220" providerId="ADAL" clId="{13C66EB5-766D-4A69-8EF8-1B215228E3C9}" dt="2020-02-24T20:53:11.719" v="700" actId="20577"/>
        <pc:sldMkLst>
          <pc:docMk/>
          <pc:sldMk cId="2669391059" sldId="596"/>
        </pc:sldMkLst>
        <pc:spChg chg="mod">
          <ac:chgData name="Daniel Valero" userId="31dd2ff7-9a08-462f-9096-6c487a317220" providerId="ADAL" clId="{13C66EB5-766D-4A69-8EF8-1B215228E3C9}" dt="2020-02-24T19:52:36.657" v="235" actId="20577"/>
          <ac:spMkLst>
            <pc:docMk/>
            <pc:sldMk cId="2669391059" sldId="596"/>
            <ac:spMk id="2" creationId="{EB67312A-9819-43C6-8D84-D9136E6CFFCC}"/>
          </ac:spMkLst>
        </pc:spChg>
        <pc:spChg chg="mod">
          <ac:chgData name="Daniel Valero" userId="31dd2ff7-9a08-462f-9096-6c487a317220" providerId="ADAL" clId="{13C66EB5-766D-4A69-8EF8-1B215228E3C9}" dt="2020-02-24T19:53:08.766" v="247" actId="20577"/>
          <ac:spMkLst>
            <pc:docMk/>
            <pc:sldMk cId="2669391059" sldId="596"/>
            <ac:spMk id="3" creationId="{F35E8CBB-5A7D-4DEF-BAF7-8DD5D042F9E0}"/>
          </ac:spMkLst>
        </pc:spChg>
        <pc:spChg chg="del mod">
          <ac:chgData name="Daniel Valero" userId="31dd2ff7-9a08-462f-9096-6c487a317220" providerId="ADAL" clId="{13C66EB5-766D-4A69-8EF8-1B215228E3C9}" dt="2020-02-24T19:47:47.212" v="157" actId="478"/>
          <ac:spMkLst>
            <pc:docMk/>
            <pc:sldMk cId="2669391059" sldId="596"/>
            <ac:spMk id="4" creationId="{F3616A99-090F-45E1-9334-58D58B148205}"/>
          </ac:spMkLst>
        </pc:spChg>
        <pc:graphicFrameChg chg="add mod modGraphic">
          <ac:chgData name="Daniel Valero" userId="31dd2ff7-9a08-462f-9096-6c487a317220" providerId="ADAL" clId="{13C66EB5-766D-4A69-8EF8-1B215228E3C9}" dt="2020-02-24T20:22:51.833" v="388" actId="20577"/>
          <ac:graphicFrameMkLst>
            <pc:docMk/>
            <pc:sldMk cId="2669391059" sldId="596"/>
            <ac:graphicFrameMk id="5" creationId="{6038F7FE-1DA1-4DBB-B788-2C7EB166AC5C}"/>
          </ac:graphicFrameMkLst>
        </pc:graphicFrameChg>
      </pc:sldChg>
      <pc:sldChg chg="addSp delSp modSp add mod">
        <pc:chgData name="Daniel Valero" userId="31dd2ff7-9a08-462f-9096-6c487a317220" providerId="ADAL" clId="{13C66EB5-766D-4A69-8EF8-1B215228E3C9}" dt="2020-02-25T20:36:33.663" v="5340" actId="20577"/>
        <pc:sldMkLst>
          <pc:docMk/>
          <pc:sldMk cId="3243458079" sldId="597"/>
        </pc:sldMkLst>
        <pc:spChg chg="mod">
          <ac:chgData name="Daniel Valero" userId="31dd2ff7-9a08-462f-9096-6c487a317220" providerId="ADAL" clId="{13C66EB5-766D-4A69-8EF8-1B215228E3C9}" dt="2020-02-24T19:53:16.507" v="266" actId="20577"/>
          <ac:spMkLst>
            <pc:docMk/>
            <pc:sldMk cId="3243458079" sldId="597"/>
            <ac:spMk id="3" creationId="{F35E8CBB-5A7D-4DEF-BAF7-8DD5D042F9E0}"/>
          </ac:spMkLst>
        </pc:spChg>
        <pc:spChg chg="add del mod">
          <ac:chgData name="Daniel Valero" userId="31dd2ff7-9a08-462f-9096-6c487a317220" providerId="ADAL" clId="{13C66EB5-766D-4A69-8EF8-1B215228E3C9}" dt="2020-02-24T19:53:59.541" v="270" actId="478"/>
          <ac:spMkLst>
            <pc:docMk/>
            <pc:sldMk cId="3243458079" sldId="597"/>
            <ac:spMk id="6" creationId="{652BE7A5-DF05-4388-90F9-DFEC6D9E3FBB}"/>
          </ac:spMkLst>
        </pc:spChg>
        <pc:spChg chg="mod">
          <ac:chgData name="Daniel Valero" userId="31dd2ff7-9a08-462f-9096-6c487a317220" providerId="ADAL" clId="{13C66EB5-766D-4A69-8EF8-1B215228E3C9}" dt="2020-02-25T20:36:33.663" v="5340" actId="20577"/>
          <ac:spMkLst>
            <pc:docMk/>
            <pc:sldMk cId="3243458079" sldId="597"/>
            <ac:spMk id="8" creationId="{3A4A584F-B868-4B5A-BEFB-997DC9C28B12}"/>
          </ac:spMkLst>
        </pc:spChg>
        <pc:spChg chg="mod">
          <ac:chgData name="Daniel Valero" userId="31dd2ff7-9a08-462f-9096-6c487a317220" providerId="ADAL" clId="{13C66EB5-766D-4A69-8EF8-1B215228E3C9}" dt="2020-02-25T20:36:17.280" v="5331" actId="20577"/>
          <ac:spMkLst>
            <pc:docMk/>
            <pc:sldMk cId="3243458079" sldId="597"/>
            <ac:spMk id="25" creationId="{08B7A926-B07B-46B7-9603-96262AF94885}"/>
          </ac:spMkLst>
        </pc:spChg>
        <pc:spChg chg="mod">
          <ac:chgData name="Daniel Valero" userId="31dd2ff7-9a08-462f-9096-6c487a317220" providerId="ADAL" clId="{13C66EB5-766D-4A69-8EF8-1B215228E3C9}" dt="2020-02-25T20:36:23.082" v="5333" actId="1076"/>
          <ac:spMkLst>
            <pc:docMk/>
            <pc:sldMk cId="3243458079" sldId="597"/>
            <ac:spMk id="26" creationId="{C970A484-27D5-4279-9A27-48BE8DFF4CD6}"/>
          </ac:spMkLst>
        </pc:spChg>
        <pc:grpChg chg="add mod">
          <ac:chgData name="Daniel Valero" userId="31dd2ff7-9a08-462f-9096-6c487a317220" providerId="ADAL" clId="{13C66EB5-766D-4A69-8EF8-1B215228E3C9}" dt="2020-02-24T19:54:13.469" v="272" actId="1076"/>
          <ac:grpSpMkLst>
            <pc:docMk/>
            <pc:sldMk cId="3243458079" sldId="597"/>
            <ac:grpSpMk id="7" creationId="{048BBD3C-C129-4007-A4BD-EEEABAD7B5F3}"/>
          </ac:grpSpMkLst>
        </pc:grpChg>
        <pc:graphicFrameChg chg="del">
          <ac:chgData name="Daniel Valero" userId="31dd2ff7-9a08-462f-9096-6c487a317220" providerId="ADAL" clId="{13C66EB5-766D-4A69-8EF8-1B215228E3C9}" dt="2020-02-24T19:53:54.772" v="267" actId="478"/>
          <ac:graphicFrameMkLst>
            <pc:docMk/>
            <pc:sldMk cId="3243458079" sldId="597"/>
            <ac:graphicFrameMk id="5" creationId="{6038F7FE-1DA1-4DBB-B788-2C7EB166AC5C}"/>
          </ac:graphicFrameMkLst>
        </pc:graphicFrameChg>
      </pc:sldChg>
      <pc:sldChg chg="addSp delSp modSp add mod ord modNotesTx">
        <pc:chgData name="Daniel Valero" userId="31dd2ff7-9a08-462f-9096-6c487a317220" providerId="ADAL" clId="{13C66EB5-766D-4A69-8EF8-1B215228E3C9}" dt="2020-02-24T20:38:35.709" v="481"/>
        <pc:sldMkLst>
          <pc:docMk/>
          <pc:sldMk cId="1097784745" sldId="598"/>
        </pc:sldMkLst>
        <pc:spChg chg="mod">
          <ac:chgData name="Daniel Valero" userId="31dd2ff7-9a08-462f-9096-6c487a317220" providerId="ADAL" clId="{13C66EB5-766D-4A69-8EF8-1B215228E3C9}" dt="2020-02-24T19:59:56.145" v="281" actId="20577"/>
          <ac:spMkLst>
            <pc:docMk/>
            <pc:sldMk cId="1097784745" sldId="598"/>
            <ac:spMk id="2" creationId="{EB67312A-9819-43C6-8D84-D9136E6CFFCC}"/>
          </ac:spMkLst>
        </pc:spChg>
        <pc:spChg chg="mod">
          <ac:chgData name="Daniel Valero" userId="31dd2ff7-9a08-462f-9096-6c487a317220" providerId="ADAL" clId="{13C66EB5-766D-4A69-8EF8-1B215228E3C9}" dt="2020-02-24T20:00:34.055" v="291" actId="20577"/>
          <ac:spMkLst>
            <pc:docMk/>
            <pc:sldMk cId="1097784745" sldId="598"/>
            <ac:spMk id="3" creationId="{F35E8CBB-5A7D-4DEF-BAF7-8DD5D042F9E0}"/>
          </ac:spMkLst>
        </pc:spChg>
        <pc:spChg chg="mod">
          <ac:chgData name="Daniel Valero" userId="31dd2ff7-9a08-462f-9096-6c487a317220" providerId="ADAL" clId="{13C66EB5-766D-4A69-8EF8-1B215228E3C9}" dt="2020-02-24T20:03:29.677" v="338" actId="14100"/>
          <ac:spMkLst>
            <pc:docMk/>
            <pc:sldMk cId="1097784745" sldId="598"/>
            <ac:spMk id="4" creationId="{F3616A99-090F-45E1-9334-58D58B148205}"/>
          </ac:spMkLst>
        </pc:spChg>
        <pc:spChg chg="del">
          <ac:chgData name="Daniel Valero" userId="31dd2ff7-9a08-462f-9096-6c487a317220" providerId="ADAL" clId="{13C66EB5-766D-4A69-8EF8-1B215228E3C9}" dt="2020-02-24T20:00:38.513" v="293" actId="478"/>
          <ac:spMkLst>
            <pc:docMk/>
            <pc:sldMk cId="1097784745" sldId="598"/>
            <ac:spMk id="6" creationId="{169E72AA-BB18-4896-B740-EFF2AF1D1445}"/>
          </ac:spMkLst>
        </pc:spChg>
        <pc:spChg chg="del">
          <ac:chgData name="Daniel Valero" userId="31dd2ff7-9a08-462f-9096-6c487a317220" providerId="ADAL" clId="{13C66EB5-766D-4A69-8EF8-1B215228E3C9}" dt="2020-02-24T20:00:38.513" v="293" actId="478"/>
          <ac:spMkLst>
            <pc:docMk/>
            <pc:sldMk cId="1097784745" sldId="598"/>
            <ac:spMk id="7" creationId="{1ACA28AE-0391-4926-ADCC-37A802323BB7}"/>
          </ac:spMkLst>
        </pc:spChg>
        <pc:spChg chg="del">
          <ac:chgData name="Daniel Valero" userId="31dd2ff7-9a08-462f-9096-6c487a317220" providerId="ADAL" clId="{13C66EB5-766D-4A69-8EF8-1B215228E3C9}" dt="2020-02-24T20:00:38.513" v="293" actId="478"/>
          <ac:spMkLst>
            <pc:docMk/>
            <pc:sldMk cId="1097784745" sldId="598"/>
            <ac:spMk id="8" creationId="{11E6287D-903E-465A-BF53-468599B77B3D}"/>
          </ac:spMkLst>
        </pc:spChg>
        <pc:spChg chg="del">
          <ac:chgData name="Daniel Valero" userId="31dd2ff7-9a08-462f-9096-6c487a317220" providerId="ADAL" clId="{13C66EB5-766D-4A69-8EF8-1B215228E3C9}" dt="2020-02-24T20:00:38.513" v="293" actId="478"/>
          <ac:spMkLst>
            <pc:docMk/>
            <pc:sldMk cId="1097784745" sldId="598"/>
            <ac:spMk id="9" creationId="{C3C59E8B-3CB8-4F4A-B6E6-7EBF7C5DC086}"/>
          </ac:spMkLst>
        </pc:spChg>
        <pc:graphicFrameChg chg="del">
          <ac:chgData name="Daniel Valero" userId="31dd2ff7-9a08-462f-9096-6c487a317220" providerId="ADAL" clId="{13C66EB5-766D-4A69-8EF8-1B215228E3C9}" dt="2020-02-24T20:00:36.123" v="292" actId="478"/>
          <ac:graphicFrameMkLst>
            <pc:docMk/>
            <pc:sldMk cId="1097784745" sldId="598"/>
            <ac:graphicFrameMk id="5" creationId="{D7AA4849-9265-4768-8404-82A32BB2007A}"/>
          </ac:graphicFrameMkLst>
        </pc:graphicFrameChg>
        <pc:graphicFrameChg chg="add mod modGraphic">
          <ac:chgData name="Daniel Valero" userId="31dd2ff7-9a08-462f-9096-6c487a317220" providerId="ADAL" clId="{13C66EB5-766D-4A69-8EF8-1B215228E3C9}" dt="2020-02-24T20:03:33.045" v="339" actId="1076"/>
          <ac:graphicFrameMkLst>
            <pc:docMk/>
            <pc:sldMk cId="1097784745" sldId="598"/>
            <ac:graphicFrameMk id="10" creationId="{FCEC238A-94EC-4139-86D0-C4CF104F2FA0}"/>
          </ac:graphicFrameMkLst>
        </pc:graphicFrameChg>
      </pc:sldChg>
      <pc:sldChg chg="addSp delSp modSp add mod ord">
        <pc:chgData name="Daniel Valero" userId="31dd2ff7-9a08-462f-9096-6c487a317220" providerId="ADAL" clId="{13C66EB5-766D-4A69-8EF8-1B215228E3C9}" dt="2020-02-24T20:47:57.050" v="630" actId="790"/>
        <pc:sldMkLst>
          <pc:docMk/>
          <pc:sldMk cId="200290157" sldId="599"/>
        </pc:sldMkLst>
        <pc:spChg chg="mod">
          <ac:chgData name="Daniel Valero" userId="31dd2ff7-9a08-462f-9096-6c487a317220" providerId="ADAL" clId="{13C66EB5-766D-4A69-8EF8-1B215228E3C9}" dt="2020-02-24T20:47:57.050" v="630" actId="790"/>
          <ac:spMkLst>
            <pc:docMk/>
            <pc:sldMk cId="200290157" sldId="599"/>
            <ac:spMk id="2" creationId="{EB67312A-9819-43C6-8D84-D9136E6CFFCC}"/>
          </ac:spMkLst>
        </pc:spChg>
        <pc:spChg chg="mod">
          <ac:chgData name="Daniel Valero" userId="31dd2ff7-9a08-462f-9096-6c487a317220" providerId="ADAL" clId="{13C66EB5-766D-4A69-8EF8-1B215228E3C9}" dt="2020-02-24T20:47:57.050" v="630" actId="790"/>
          <ac:spMkLst>
            <pc:docMk/>
            <pc:sldMk cId="200290157" sldId="599"/>
            <ac:spMk id="3" creationId="{F35E8CBB-5A7D-4DEF-BAF7-8DD5D042F9E0}"/>
          </ac:spMkLst>
        </pc:spChg>
        <pc:spChg chg="mod">
          <ac:chgData name="Daniel Valero" userId="31dd2ff7-9a08-462f-9096-6c487a317220" providerId="ADAL" clId="{13C66EB5-766D-4A69-8EF8-1B215228E3C9}" dt="2020-02-24T20:47:57.050" v="630" actId="790"/>
          <ac:spMkLst>
            <pc:docMk/>
            <pc:sldMk cId="200290157" sldId="599"/>
            <ac:spMk id="4" creationId="{F3616A99-090F-45E1-9334-58D58B148205}"/>
          </ac:spMkLst>
        </pc:spChg>
        <pc:spChg chg="del">
          <ac:chgData name="Daniel Valero" userId="31dd2ff7-9a08-462f-9096-6c487a317220" providerId="ADAL" clId="{13C66EB5-766D-4A69-8EF8-1B215228E3C9}" dt="2020-02-24T20:04:23.842" v="359" actId="478"/>
          <ac:spMkLst>
            <pc:docMk/>
            <pc:sldMk cId="200290157" sldId="599"/>
            <ac:spMk id="6" creationId="{169E72AA-BB18-4896-B740-EFF2AF1D1445}"/>
          </ac:spMkLst>
        </pc:spChg>
        <pc:spChg chg="add del">
          <ac:chgData name="Daniel Valero" userId="31dd2ff7-9a08-462f-9096-6c487a317220" providerId="ADAL" clId="{13C66EB5-766D-4A69-8EF8-1B215228E3C9}" dt="2020-02-24T20:41:31.904" v="494" actId="478"/>
          <ac:spMkLst>
            <pc:docMk/>
            <pc:sldMk cId="200290157" sldId="599"/>
            <ac:spMk id="7" creationId="{1ACA28AE-0391-4926-ADCC-37A802323BB7}"/>
          </ac:spMkLst>
        </pc:spChg>
        <pc:spChg chg="del">
          <ac:chgData name="Daniel Valero" userId="31dd2ff7-9a08-462f-9096-6c487a317220" providerId="ADAL" clId="{13C66EB5-766D-4A69-8EF8-1B215228E3C9}" dt="2020-02-24T20:04:23.842" v="359" actId="478"/>
          <ac:spMkLst>
            <pc:docMk/>
            <pc:sldMk cId="200290157" sldId="599"/>
            <ac:spMk id="8" creationId="{11E6287D-903E-465A-BF53-468599B77B3D}"/>
          </ac:spMkLst>
        </pc:spChg>
        <pc:spChg chg="del">
          <ac:chgData name="Daniel Valero" userId="31dd2ff7-9a08-462f-9096-6c487a317220" providerId="ADAL" clId="{13C66EB5-766D-4A69-8EF8-1B215228E3C9}" dt="2020-02-24T20:04:23.842" v="359" actId="478"/>
          <ac:spMkLst>
            <pc:docMk/>
            <pc:sldMk cId="200290157" sldId="599"/>
            <ac:spMk id="9" creationId="{C3C59E8B-3CB8-4F4A-B6E6-7EBF7C5DC086}"/>
          </ac:spMkLst>
        </pc:spChg>
        <pc:graphicFrameChg chg="del">
          <ac:chgData name="Daniel Valero" userId="31dd2ff7-9a08-462f-9096-6c487a317220" providerId="ADAL" clId="{13C66EB5-766D-4A69-8EF8-1B215228E3C9}" dt="2020-02-24T20:04:23.842" v="359" actId="478"/>
          <ac:graphicFrameMkLst>
            <pc:docMk/>
            <pc:sldMk cId="200290157" sldId="599"/>
            <ac:graphicFrameMk id="5" creationId="{D7AA4849-9265-4768-8404-82A32BB2007A}"/>
          </ac:graphicFrameMkLst>
        </pc:graphicFrameChg>
        <pc:graphicFrameChg chg="add del mod modGraphic">
          <ac:chgData name="Daniel Valero" userId="31dd2ff7-9a08-462f-9096-6c487a317220" providerId="ADAL" clId="{13C66EB5-766D-4A69-8EF8-1B215228E3C9}" dt="2020-02-24T20:45:06.429" v="584" actId="478"/>
          <ac:graphicFrameMkLst>
            <pc:docMk/>
            <pc:sldMk cId="200290157" sldId="599"/>
            <ac:graphicFrameMk id="10" creationId="{E187638D-2B21-4A36-A70A-F5A0FAE62B1C}"/>
          </ac:graphicFrameMkLst>
        </pc:graphicFrameChg>
      </pc:sldChg>
      <pc:sldChg chg="addSp delSp modSp add mod modAnim modNotesTx">
        <pc:chgData name="Daniel Valero" userId="31dd2ff7-9a08-462f-9096-6c487a317220" providerId="ADAL" clId="{13C66EB5-766D-4A69-8EF8-1B215228E3C9}" dt="2020-02-24T20:56:26.883" v="733" actId="313"/>
        <pc:sldMkLst>
          <pc:docMk/>
          <pc:sldMk cId="994038105" sldId="600"/>
        </pc:sldMkLst>
        <pc:spChg chg="mod">
          <ac:chgData name="Daniel Valero" userId="31dd2ff7-9a08-462f-9096-6c487a317220" providerId="ADAL" clId="{13C66EB5-766D-4A69-8EF8-1B215228E3C9}" dt="2020-02-24T20:15:14.130" v="361" actId="20577"/>
          <ac:spMkLst>
            <pc:docMk/>
            <pc:sldMk cId="994038105" sldId="600"/>
            <ac:spMk id="2" creationId="{EB67312A-9819-43C6-8D84-D9136E6CFFCC}"/>
          </ac:spMkLst>
        </pc:spChg>
        <pc:spChg chg="add">
          <ac:chgData name="Daniel Valero" userId="31dd2ff7-9a08-462f-9096-6c487a317220" providerId="ADAL" clId="{13C66EB5-766D-4A69-8EF8-1B215228E3C9}" dt="2020-02-24T20:15:38.691" v="366"/>
          <ac:spMkLst>
            <pc:docMk/>
            <pc:sldMk cId="994038105" sldId="600"/>
            <ac:spMk id="27" creationId="{0EBCC322-8D94-4879-88A3-1EACCEE4E88A}"/>
          </ac:spMkLst>
        </pc:spChg>
        <pc:spChg chg="add">
          <ac:chgData name="Daniel Valero" userId="31dd2ff7-9a08-462f-9096-6c487a317220" providerId="ADAL" clId="{13C66EB5-766D-4A69-8EF8-1B215228E3C9}" dt="2020-02-24T20:15:38.691" v="366"/>
          <ac:spMkLst>
            <pc:docMk/>
            <pc:sldMk cId="994038105" sldId="600"/>
            <ac:spMk id="28" creationId="{EE914440-D6FA-4328-8B96-B3F9D0E47EE0}"/>
          </ac:spMkLst>
        </pc:spChg>
        <pc:spChg chg="add del">
          <ac:chgData name="Daniel Valero" userId="31dd2ff7-9a08-462f-9096-6c487a317220" providerId="ADAL" clId="{13C66EB5-766D-4A69-8EF8-1B215228E3C9}" dt="2020-02-24T20:15:41.739" v="367" actId="478"/>
          <ac:spMkLst>
            <pc:docMk/>
            <pc:sldMk cId="994038105" sldId="600"/>
            <ac:spMk id="30" creationId="{02868D91-489C-4AB4-9DD6-43F0D5425C60}"/>
          </ac:spMkLst>
        </pc:spChg>
        <pc:grpChg chg="del">
          <ac:chgData name="Daniel Valero" userId="31dd2ff7-9a08-462f-9096-6c487a317220" providerId="ADAL" clId="{13C66EB5-766D-4A69-8EF8-1B215228E3C9}" dt="2020-02-24T20:15:37.643" v="365" actId="478"/>
          <ac:grpSpMkLst>
            <pc:docMk/>
            <pc:sldMk cId="994038105" sldId="600"/>
            <ac:grpSpMk id="7" creationId="{048BBD3C-C129-4007-A4BD-EEEABAD7B5F3}"/>
          </ac:grpSpMkLst>
        </pc:grpChg>
        <pc:picChg chg="add">
          <ac:chgData name="Daniel Valero" userId="31dd2ff7-9a08-462f-9096-6c487a317220" providerId="ADAL" clId="{13C66EB5-766D-4A69-8EF8-1B215228E3C9}" dt="2020-02-24T20:15:38.691" v="366"/>
          <ac:picMkLst>
            <pc:docMk/>
            <pc:sldMk cId="994038105" sldId="600"/>
            <ac:picMk id="29" creationId="{A06039F7-6DC4-4083-B7C7-D28D20F13287}"/>
          </ac:picMkLst>
        </pc:picChg>
        <pc:cxnChg chg="mod">
          <ac:chgData name="Daniel Valero" userId="31dd2ff7-9a08-462f-9096-6c487a317220" providerId="ADAL" clId="{13C66EB5-766D-4A69-8EF8-1B215228E3C9}" dt="2020-02-24T20:15:37.643" v="365" actId="478"/>
          <ac:cxnSpMkLst>
            <pc:docMk/>
            <pc:sldMk cId="994038105" sldId="600"/>
            <ac:cxnSpMk id="15" creationId="{97D456B4-6E80-4A8A-875B-ED1655221466}"/>
          </ac:cxnSpMkLst>
        </pc:cxnChg>
        <pc:cxnChg chg="mod">
          <ac:chgData name="Daniel Valero" userId="31dd2ff7-9a08-462f-9096-6c487a317220" providerId="ADAL" clId="{13C66EB5-766D-4A69-8EF8-1B215228E3C9}" dt="2020-02-24T20:15:37.643" v="365" actId="478"/>
          <ac:cxnSpMkLst>
            <pc:docMk/>
            <pc:sldMk cId="994038105" sldId="600"/>
            <ac:cxnSpMk id="16" creationId="{BFC7F850-0284-4AFB-B10F-2CAC0ADC3398}"/>
          </ac:cxnSpMkLst>
        </pc:cxnChg>
        <pc:cxnChg chg="mod">
          <ac:chgData name="Daniel Valero" userId="31dd2ff7-9a08-462f-9096-6c487a317220" providerId="ADAL" clId="{13C66EB5-766D-4A69-8EF8-1B215228E3C9}" dt="2020-02-24T20:15:37.643" v="365" actId="478"/>
          <ac:cxnSpMkLst>
            <pc:docMk/>
            <pc:sldMk cId="994038105" sldId="600"/>
            <ac:cxnSpMk id="17" creationId="{C3BFF459-53C3-41B2-807A-85F484FED82B}"/>
          </ac:cxnSpMkLst>
        </pc:cxnChg>
        <pc:cxnChg chg="mod">
          <ac:chgData name="Daniel Valero" userId="31dd2ff7-9a08-462f-9096-6c487a317220" providerId="ADAL" clId="{13C66EB5-766D-4A69-8EF8-1B215228E3C9}" dt="2020-02-24T20:15:37.643" v="365" actId="478"/>
          <ac:cxnSpMkLst>
            <pc:docMk/>
            <pc:sldMk cId="994038105" sldId="600"/>
            <ac:cxnSpMk id="18" creationId="{8800EBBF-FB23-46D8-81E6-220363789C47}"/>
          </ac:cxnSpMkLst>
        </pc:cxnChg>
        <pc:cxnChg chg="mod">
          <ac:chgData name="Daniel Valero" userId="31dd2ff7-9a08-462f-9096-6c487a317220" providerId="ADAL" clId="{13C66EB5-766D-4A69-8EF8-1B215228E3C9}" dt="2020-02-24T20:15:37.643" v="365" actId="478"/>
          <ac:cxnSpMkLst>
            <pc:docMk/>
            <pc:sldMk cId="994038105" sldId="600"/>
            <ac:cxnSpMk id="19" creationId="{5F46FE2E-43B3-45A6-8BAF-8E88A93E5652}"/>
          </ac:cxnSpMkLst>
        </pc:cxnChg>
        <pc:cxnChg chg="mod">
          <ac:chgData name="Daniel Valero" userId="31dd2ff7-9a08-462f-9096-6c487a317220" providerId="ADAL" clId="{13C66EB5-766D-4A69-8EF8-1B215228E3C9}" dt="2020-02-24T20:15:37.643" v="365" actId="478"/>
          <ac:cxnSpMkLst>
            <pc:docMk/>
            <pc:sldMk cId="994038105" sldId="600"/>
            <ac:cxnSpMk id="20" creationId="{6109B004-4C23-4FAC-99F1-A21401BF2691}"/>
          </ac:cxnSpMkLst>
        </pc:cxnChg>
        <pc:cxnChg chg="mod">
          <ac:chgData name="Daniel Valero" userId="31dd2ff7-9a08-462f-9096-6c487a317220" providerId="ADAL" clId="{13C66EB5-766D-4A69-8EF8-1B215228E3C9}" dt="2020-02-24T20:15:37.643" v="365" actId="478"/>
          <ac:cxnSpMkLst>
            <pc:docMk/>
            <pc:sldMk cId="994038105" sldId="600"/>
            <ac:cxnSpMk id="21" creationId="{7A0C72D7-5F3A-41AE-A7DD-B46CE32D7D17}"/>
          </ac:cxnSpMkLst>
        </pc:cxnChg>
        <pc:cxnChg chg="mod">
          <ac:chgData name="Daniel Valero" userId="31dd2ff7-9a08-462f-9096-6c487a317220" providerId="ADAL" clId="{13C66EB5-766D-4A69-8EF8-1B215228E3C9}" dt="2020-02-24T20:15:37.643" v="365" actId="478"/>
          <ac:cxnSpMkLst>
            <pc:docMk/>
            <pc:sldMk cId="994038105" sldId="600"/>
            <ac:cxnSpMk id="22" creationId="{E15E9F15-6CBF-432B-B1DD-6B25A3258E17}"/>
          </ac:cxnSpMkLst>
        </pc:cxnChg>
      </pc:sldChg>
      <pc:sldChg chg="addSp delSp modSp add mod delAnim modNotesTx">
        <pc:chgData name="Daniel Valero" userId="31dd2ff7-9a08-462f-9096-6c487a317220" providerId="ADAL" clId="{13C66EB5-766D-4A69-8EF8-1B215228E3C9}" dt="2020-02-24T20:54:19.085" v="711" actId="20577"/>
        <pc:sldMkLst>
          <pc:docMk/>
          <pc:sldMk cId="3121385187" sldId="601"/>
        </pc:sldMkLst>
        <pc:spChg chg="mod">
          <ac:chgData name="Daniel Valero" userId="31dd2ff7-9a08-462f-9096-6c487a317220" providerId="ADAL" clId="{13C66EB5-766D-4A69-8EF8-1B215228E3C9}" dt="2020-02-24T20:16:12.956" v="380" actId="20577"/>
          <ac:spMkLst>
            <pc:docMk/>
            <pc:sldMk cId="3121385187" sldId="601"/>
            <ac:spMk id="2" creationId="{EB67312A-9819-43C6-8D84-D9136E6CFFCC}"/>
          </ac:spMkLst>
        </pc:spChg>
        <pc:spChg chg="add del">
          <ac:chgData name="Daniel Valero" userId="31dd2ff7-9a08-462f-9096-6c487a317220" providerId="ADAL" clId="{13C66EB5-766D-4A69-8EF8-1B215228E3C9}" dt="2020-02-24T20:24:36.366" v="390"/>
          <ac:spMkLst>
            <pc:docMk/>
            <pc:sldMk cId="3121385187" sldId="601"/>
            <ac:spMk id="4" creationId="{377FE4D7-865E-46F2-BC48-5B2BDBC8F9D1}"/>
          </ac:spMkLst>
        </pc:spChg>
        <pc:spChg chg="add mod">
          <ac:chgData name="Daniel Valero" userId="31dd2ff7-9a08-462f-9096-6c487a317220" providerId="ADAL" clId="{13C66EB5-766D-4A69-8EF8-1B215228E3C9}" dt="2020-02-24T20:27:54.284" v="435" actId="20577"/>
          <ac:spMkLst>
            <pc:docMk/>
            <pc:sldMk cId="3121385187" sldId="601"/>
            <ac:spMk id="5" creationId="{24C1A325-6F43-4F8B-AC97-1072BF0A84B4}"/>
          </ac:spMkLst>
        </pc:spChg>
        <pc:spChg chg="add del">
          <ac:chgData name="Daniel Valero" userId="31dd2ff7-9a08-462f-9096-6c487a317220" providerId="ADAL" clId="{13C66EB5-766D-4A69-8EF8-1B215228E3C9}" dt="2020-02-24T20:16:23.222" v="385" actId="478"/>
          <ac:spMkLst>
            <pc:docMk/>
            <pc:sldMk cId="3121385187" sldId="601"/>
            <ac:spMk id="8" creationId="{50D6B4A6-30AF-4756-9F72-517DC24A4DCF}"/>
          </ac:spMkLst>
        </pc:spChg>
        <pc:spChg chg="del">
          <ac:chgData name="Daniel Valero" userId="31dd2ff7-9a08-462f-9096-6c487a317220" providerId="ADAL" clId="{13C66EB5-766D-4A69-8EF8-1B215228E3C9}" dt="2020-02-24T20:16:18.870" v="383" actId="478"/>
          <ac:spMkLst>
            <pc:docMk/>
            <pc:sldMk cId="3121385187" sldId="601"/>
            <ac:spMk id="27" creationId="{0EBCC322-8D94-4879-88A3-1EACCEE4E88A}"/>
          </ac:spMkLst>
        </pc:spChg>
        <pc:spChg chg="del">
          <ac:chgData name="Daniel Valero" userId="31dd2ff7-9a08-462f-9096-6c487a317220" providerId="ADAL" clId="{13C66EB5-766D-4A69-8EF8-1B215228E3C9}" dt="2020-02-24T20:16:18.325" v="382" actId="478"/>
          <ac:spMkLst>
            <pc:docMk/>
            <pc:sldMk cId="3121385187" sldId="601"/>
            <ac:spMk id="28" creationId="{EE914440-D6FA-4328-8B96-B3F9D0E47EE0}"/>
          </ac:spMkLst>
        </pc:spChg>
        <pc:picChg chg="add mod modCrop">
          <ac:chgData name="Daniel Valero" userId="31dd2ff7-9a08-462f-9096-6c487a317220" providerId="ADAL" clId="{13C66EB5-766D-4A69-8EF8-1B215228E3C9}" dt="2020-02-24T20:26:32.181" v="420" actId="1076"/>
          <ac:picMkLst>
            <pc:docMk/>
            <pc:sldMk cId="3121385187" sldId="601"/>
            <ac:picMk id="7" creationId="{6310470A-8C33-4F52-8EE5-384C80890185}"/>
          </ac:picMkLst>
        </pc:picChg>
        <pc:picChg chg="del">
          <ac:chgData name="Daniel Valero" userId="31dd2ff7-9a08-462f-9096-6c487a317220" providerId="ADAL" clId="{13C66EB5-766D-4A69-8EF8-1B215228E3C9}" dt="2020-02-24T20:16:17.795" v="381" actId="478"/>
          <ac:picMkLst>
            <pc:docMk/>
            <pc:sldMk cId="3121385187" sldId="601"/>
            <ac:picMk id="29" creationId="{A06039F7-6DC4-4083-B7C7-D28D20F13287}"/>
          </ac:picMkLst>
        </pc:picChg>
      </pc:sldChg>
      <pc:sldChg chg="modSp add mod modNotesTx">
        <pc:chgData name="Daniel Valero" userId="31dd2ff7-9a08-462f-9096-6c487a317220" providerId="ADAL" clId="{13C66EB5-766D-4A69-8EF8-1B215228E3C9}" dt="2020-02-25T18:44:52.967" v="4334" actId="20577"/>
        <pc:sldMkLst>
          <pc:docMk/>
          <pc:sldMk cId="2420422319" sldId="602"/>
        </pc:sldMkLst>
        <pc:spChg chg="mod">
          <ac:chgData name="Daniel Valero" userId="31dd2ff7-9a08-462f-9096-6c487a317220" providerId="ADAL" clId="{13C66EB5-766D-4A69-8EF8-1B215228E3C9}" dt="2020-02-24T20:43:32.744" v="553" actId="20577"/>
          <ac:spMkLst>
            <pc:docMk/>
            <pc:sldMk cId="2420422319" sldId="602"/>
            <ac:spMk id="3" creationId="{F35E8CBB-5A7D-4DEF-BAF7-8DD5D042F9E0}"/>
          </ac:spMkLst>
        </pc:spChg>
        <pc:spChg chg="mod">
          <ac:chgData name="Daniel Valero" userId="31dd2ff7-9a08-462f-9096-6c487a317220" providerId="ADAL" clId="{13C66EB5-766D-4A69-8EF8-1B215228E3C9}" dt="2020-02-24T20:43:37.126" v="556" actId="14100"/>
          <ac:spMkLst>
            <pc:docMk/>
            <pc:sldMk cId="2420422319" sldId="602"/>
            <ac:spMk id="4" creationId="{F3616A99-090F-45E1-9334-58D58B148205}"/>
          </ac:spMkLst>
        </pc:spChg>
        <pc:graphicFrameChg chg="mod">
          <ac:chgData name="Daniel Valero" userId="31dd2ff7-9a08-462f-9096-6c487a317220" providerId="ADAL" clId="{13C66EB5-766D-4A69-8EF8-1B215228E3C9}" dt="2020-02-25T18:44:52.967" v="4334" actId="20577"/>
          <ac:graphicFrameMkLst>
            <pc:docMk/>
            <pc:sldMk cId="2420422319" sldId="602"/>
            <ac:graphicFrameMk id="10" creationId="{E187638D-2B21-4A36-A70A-F5A0FAE62B1C}"/>
          </ac:graphicFrameMkLst>
        </pc:graphicFrameChg>
      </pc:sldChg>
      <pc:sldChg chg="addSp delSp modSp add mod delAnim modAnim modNotesTx">
        <pc:chgData name="Daniel Valero" userId="31dd2ff7-9a08-462f-9096-6c487a317220" providerId="ADAL" clId="{13C66EB5-766D-4A69-8EF8-1B215228E3C9}" dt="2020-02-25T19:08:42.912" v="4917" actId="20577"/>
        <pc:sldMkLst>
          <pc:docMk/>
          <pc:sldMk cId="1081358570" sldId="603"/>
        </pc:sldMkLst>
        <pc:spChg chg="mod">
          <ac:chgData name="Daniel Valero" userId="31dd2ff7-9a08-462f-9096-6c487a317220" providerId="ADAL" clId="{13C66EB5-766D-4A69-8EF8-1B215228E3C9}" dt="2020-02-25T19:08:42.912" v="4917" actId="20577"/>
          <ac:spMkLst>
            <pc:docMk/>
            <pc:sldMk cId="1081358570" sldId="603"/>
            <ac:spMk id="2" creationId="{EB67312A-9819-43C6-8D84-D9136E6CFFCC}"/>
          </ac:spMkLst>
        </pc:spChg>
        <pc:spChg chg="mod">
          <ac:chgData name="Daniel Valero" userId="31dd2ff7-9a08-462f-9096-6c487a317220" providerId="ADAL" clId="{13C66EB5-766D-4A69-8EF8-1B215228E3C9}" dt="2020-02-25T18:59:39.508" v="4704" actId="20577"/>
          <ac:spMkLst>
            <pc:docMk/>
            <pc:sldMk cId="1081358570" sldId="603"/>
            <ac:spMk id="3" creationId="{F35E8CBB-5A7D-4DEF-BAF7-8DD5D042F9E0}"/>
          </ac:spMkLst>
        </pc:spChg>
        <pc:spChg chg="del">
          <ac:chgData name="Daniel Valero" userId="31dd2ff7-9a08-462f-9096-6c487a317220" providerId="ADAL" clId="{13C66EB5-766D-4A69-8EF8-1B215228E3C9}" dt="2020-02-24T21:05:18.191" v="784" actId="478"/>
          <ac:spMkLst>
            <pc:docMk/>
            <pc:sldMk cId="1081358570" sldId="603"/>
            <ac:spMk id="4" creationId="{F3616A99-090F-45E1-9334-58D58B148205}"/>
          </ac:spMkLst>
        </pc:spChg>
        <pc:spChg chg="add mod">
          <ac:chgData name="Daniel Valero" userId="31dd2ff7-9a08-462f-9096-6c487a317220" providerId="ADAL" clId="{13C66EB5-766D-4A69-8EF8-1B215228E3C9}" dt="2020-02-25T18:54:57.858" v="4626" actId="1036"/>
          <ac:spMkLst>
            <pc:docMk/>
            <pc:sldMk cId="1081358570" sldId="603"/>
            <ac:spMk id="5" creationId="{7FE2D393-5B11-4ED9-A753-3242CAC2B5B2}"/>
          </ac:spMkLst>
        </pc:spChg>
        <pc:spChg chg="add mod">
          <ac:chgData name="Daniel Valero" userId="31dd2ff7-9a08-462f-9096-6c487a317220" providerId="ADAL" clId="{13C66EB5-766D-4A69-8EF8-1B215228E3C9}" dt="2020-02-25T18:54:57.858" v="4626" actId="1036"/>
          <ac:spMkLst>
            <pc:docMk/>
            <pc:sldMk cId="1081358570" sldId="603"/>
            <ac:spMk id="7" creationId="{439CE905-1E40-4DF4-AAB7-B4708DE39F71}"/>
          </ac:spMkLst>
        </pc:spChg>
        <pc:spChg chg="add mod">
          <ac:chgData name="Daniel Valero" userId="31dd2ff7-9a08-462f-9096-6c487a317220" providerId="ADAL" clId="{13C66EB5-766D-4A69-8EF8-1B215228E3C9}" dt="2020-02-25T18:54:57.858" v="4626" actId="1036"/>
          <ac:spMkLst>
            <pc:docMk/>
            <pc:sldMk cId="1081358570" sldId="603"/>
            <ac:spMk id="8" creationId="{9642542A-325A-444C-943B-6EBAEF3A41AC}"/>
          </ac:spMkLst>
        </pc:spChg>
        <pc:spChg chg="add del mod">
          <ac:chgData name="Daniel Valero" userId="31dd2ff7-9a08-462f-9096-6c487a317220" providerId="ADAL" clId="{13C66EB5-766D-4A69-8EF8-1B215228E3C9}" dt="2020-02-25T18:54:44.777" v="4620" actId="478"/>
          <ac:spMkLst>
            <pc:docMk/>
            <pc:sldMk cId="1081358570" sldId="603"/>
            <ac:spMk id="9" creationId="{D1BB2EE6-473C-42AB-8561-8F7A64D911F4}"/>
          </ac:spMkLst>
        </pc:spChg>
        <pc:spChg chg="add mod">
          <ac:chgData name="Daniel Valero" userId="31dd2ff7-9a08-462f-9096-6c487a317220" providerId="ADAL" clId="{13C66EB5-766D-4A69-8EF8-1B215228E3C9}" dt="2020-02-25T18:54:57.858" v="4626" actId="1036"/>
          <ac:spMkLst>
            <pc:docMk/>
            <pc:sldMk cId="1081358570" sldId="603"/>
            <ac:spMk id="10" creationId="{62D72855-10C5-44D0-9958-4F6E50B4ADA5}"/>
          </ac:spMkLst>
        </pc:spChg>
        <pc:spChg chg="add mod">
          <ac:chgData name="Daniel Valero" userId="31dd2ff7-9a08-462f-9096-6c487a317220" providerId="ADAL" clId="{13C66EB5-766D-4A69-8EF8-1B215228E3C9}" dt="2020-02-25T18:54:57.858" v="4626" actId="1036"/>
          <ac:spMkLst>
            <pc:docMk/>
            <pc:sldMk cId="1081358570" sldId="603"/>
            <ac:spMk id="11" creationId="{2224CD71-60DA-4317-87E5-72D450424779}"/>
          </ac:spMkLst>
        </pc:spChg>
        <pc:spChg chg="add mod">
          <ac:chgData name="Daniel Valero" userId="31dd2ff7-9a08-462f-9096-6c487a317220" providerId="ADAL" clId="{13C66EB5-766D-4A69-8EF8-1B215228E3C9}" dt="2020-02-25T18:54:57.858" v="4626" actId="1036"/>
          <ac:spMkLst>
            <pc:docMk/>
            <pc:sldMk cId="1081358570" sldId="603"/>
            <ac:spMk id="12" creationId="{B21B801E-94C2-416D-B6EF-30A009D6BABB}"/>
          </ac:spMkLst>
        </pc:spChg>
        <pc:spChg chg="add del">
          <ac:chgData name="Daniel Valero" userId="31dd2ff7-9a08-462f-9096-6c487a317220" providerId="ADAL" clId="{13C66EB5-766D-4A69-8EF8-1B215228E3C9}" dt="2020-02-25T18:48:27.113" v="4368" actId="21"/>
          <ac:spMkLst>
            <pc:docMk/>
            <pc:sldMk cId="1081358570" sldId="603"/>
            <ac:spMk id="13" creationId="{2AC6324E-FF31-4FB3-BE78-B5BF3456CE89}"/>
          </ac:spMkLst>
        </pc:spChg>
        <pc:spChg chg="add mod">
          <ac:chgData name="Daniel Valero" userId="31dd2ff7-9a08-462f-9096-6c487a317220" providerId="ADAL" clId="{13C66EB5-766D-4A69-8EF8-1B215228E3C9}" dt="2020-02-25T18:54:57.858" v="4626" actId="1036"/>
          <ac:spMkLst>
            <pc:docMk/>
            <pc:sldMk cId="1081358570" sldId="603"/>
            <ac:spMk id="14" creationId="{E35CE312-6ED7-44DD-8D1B-615F04F0D4D1}"/>
          </ac:spMkLst>
        </pc:spChg>
        <pc:spChg chg="add mod">
          <ac:chgData name="Daniel Valero" userId="31dd2ff7-9a08-462f-9096-6c487a317220" providerId="ADAL" clId="{13C66EB5-766D-4A69-8EF8-1B215228E3C9}" dt="2020-02-25T18:54:57.858" v="4626" actId="1036"/>
          <ac:spMkLst>
            <pc:docMk/>
            <pc:sldMk cId="1081358570" sldId="603"/>
            <ac:spMk id="15" creationId="{75366D26-DDCF-4B22-A6CC-1086C4A66DDF}"/>
          </ac:spMkLst>
        </pc:spChg>
        <pc:spChg chg="add mod">
          <ac:chgData name="Daniel Valero" userId="31dd2ff7-9a08-462f-9096-6c487a317220" providerId="ADAL" clId="{13C66EB5-766D-4A69-8EF8-1B215228E3C9}" dt="2020-02-25T18:54:57.858" v="4626" actId="1036"/>
          <ac:spMkLst>
            <pc:docMk/>
            <pc:sldMk cId="1081358570" sldId="603"/>
            <ac:spMk id="16" creationId="{76CD0A62-E722-4033-8C2A-35930BC70C38}"/>
          </ac:spMkLst>
        </pc:spChg>
        <pc:spChg chg="add mod">
          <ac:chgData name="Daniel Valero" userId="31dd2ff7-9a08-462f-9096-6c487a317220" providerId="ADAL" clId="{13C66EB5-766D-4A69-8EF8-1B215228E3C9}" dt="2020-02-25T18:54:57.858" v="4626" actId="1036"/>
          <ac:spMkLst>
            <pc:docMk/>
            <pc:sldMk cId="1081358570" sldId="603"/>
            <ac:spMk id="17" creationId="{01F8DCA1-0A1C-4589-A114-F7260B8D3605}"/>
          </ac:spMkLst>
        </pc:spChg>
        <pc:spChg chg="add mod">
          <ac:chgData name="Daniel Valero" userId="31dd2ff7-9a08-462f-9096-6c487a317220" providerId="ADAL" clId="{13C66EB5-766D-4A69-8EF8-1B215228E3C9}" dt="2020-02-25T18:54:57.858" v="4626" actId="1036"/>
          <ac:spMkLst>
            <pc:docMk/>
            <pc:sldMk cId="1081358570" sldId="603"/>
            <ac:spMk id="18" creationId="{91ADEC72-9D40-40A7-9F63-13F01E33DF64}"/>
          </ac:spMkLst>
        </pc:spChg>
        <pc:spChg chg="add mod">
          <ac:chgData name="Daniel Valero" userId="31dd2ff7-9a08-462f-9096-6c487a317220" providerId="ADAL" clId="{13C66EB5-766D-4A69-8EF8-1B215228E3C9}" dt="2020-02-25T18:54:57.858" v="4626" actId="1036"/>
          <ac:spMkLst>
            <pc:docMk/>
            <pc:sldMk cId="1081358570" sldId="603"/>
            <ac:spMk id="19" creationId="{8C0223B9-0C0B-4D03-835C-BB276F2AFE6A}"/>
          </ac:spMkLst>
        </pc:spChg>
        <pc:spChg chg="add del">
          <ac:chgData name="Daniel Valero" userId="31dd2ff7-9a08-462f-9096-6c487a317220" providerId="ADAL" clId="{13C66EB5-766D-4A69-8EF8-1B215228E3C9}" dt="2020-02-25T18:48:27.113" v="4368" actId="21"/>
          <ac:spMkLst>
            <pc:docMk/>
            <pc:sldMk cId="1081358570" sldId="603"/>
            <ac:spMk id="20" creationId="{01AB014C-EC29-45BE-8197-288FC6994114}"/>
          </ac:spMkLst>
        </pc:spChg>
        <pc:spChg chg="add mod">
          <ac:chgData name="Daniel Valero" userId="31dd2ff7-9a08-462f-9096-6c487a317220" providerId="ADAL" clId="{13C66EB5-766D-4A69-8EF8-1B215228E3C9}" dt="2020-02-25T18:54:57.858" v="4626" actId="1036"/>
          <ac:spMkLst>
            <pc:docMk/>
            <pc:sldMk cId="1081358570" sldId="603"/>
            <ac:spMk id="21" creationId="{59BC122F-56A4-4744-ACD8-1FA161AF9637}"/>
          </ac:spMkLst>
        </pc:spChg>
        <pc:spChg chg="add mod">
          <ac:chgData name="Daniel Valero" userId="31dd2ff7-9a08-462f-9096-6c487a317220" providerId="ADAL" clId="{13C66EB5-766D-4A69-8EF8-1B215228E3C9}" dt="2020-02-25T18:54:57.858" v="4626" actId="1036"/>
          <ac:spMkLst>
            <pc:docMk/>
            <pc:sldMk cId="1081358570" sldId="603"/>
            <ac:spMk id="22" creationId="{F261C6AE-C9E6-4EA3-9806-760F4DF13F16}"/>
          </ac:spMkLst>
        </pc:spChg>
        <pc:spChg chg="add mod">
          <ac:chgData name="Daniel Valero" userId="31dd2ff7-9a08-462f-9096-6c487a317220" providerId="ADAL" clId="{13C66EB5-766D-4A69-8EF8-1B215228E3C9}" dt="2020-02-25T18:54:57.858" v="4626" actId="1036"/>
          <ac:spMkLst>
            <pc:docMk/>
            <pc:sldMk cId="1081358570" sldId="603"/>
            <ac:spMk id="23" creationId="{1481159C-E664-4223-BE03-5DA2A61AF604}"/>
          </ac:spMkLst>
        </pc:spChg>
        <pc:spChg chg="add mod">
          <ac:chgData name="Daniel Valero" userId="31dd2ff7-9a08-462f-9096-6c487a317220" providerId="ADAL" clId="{13C66EB5-766D-4A69-8EF8-1B215228E3C9}" dt="2020-02-25T18:54:57.858" v="4626" actId="1036"/>
          <ac:spMkLst>
            <pc:docMk/>
            <pc:sldMk cId="1081358570" sldId="603"/>
            <ac:spMk id="24" creationId="{65080DA3-54A4-41FB-B39B-9A2782630F40}"/>
          </ac:spMkLst>
        </pc:spChg>
        <pc:spChg chg="add del mod">
          <ac:chgData name="Daniel Valero" userId="31dd2ff7-9a08-462f-9096-6c487a317220" providerId="ADAL" clId="{13C66EB5-766D-4A69-8EF8-1B215228E3C9}" dt="2020-02-25T18:48:27.113" v="4368" actId="21"/>
          <ac:spMkLst>
            <pc:docMk/>
            <pc:sldMk cId="1081358570" sldId="603"/>
            <ac:spMk id="25" creationId="{7115C16D-4B04-48B9-A93A-ADF8B52FFB14}"/>
          </ac:spMkLst>
        </pc:spChg>
        <pc:spChg chg="add del">
          <ac:chgData name="Daniel Valero" userId="31dd2ff7-9a08-462f-9096-6c487a317220" providerId="ADAL" clId="{13C66EB5-766D-4A69-8EF8-1B215228E3C9}" dt="2020-02-25T18:48:32.966" v="4372" actId="21"/>
          <ac:spMkLst>
            <pc:docMk/>
            <pc:sldMk cId="1081358570" sldId="603"/>
            <ac:spMk id="27" creationId="{44588A58-1FC9-4264-A78C-B155B98D54C3}"/>
          </ac:spMkLst>
        </pc:spChg>
        <pc:spChg chg="add del">
          <ac:chgData name="Daniel Valero" userId="31dd2ff7-9a08-462f-9096-6c487a317220" providerId="ADAL" clId="{13C66EB5-766D-4A69-8EF8-1B215228E3C9}" dt="2020-02-25T18:48:32.966" v="4372" actId="21"/>
          <ac:spMkLst>
            <pc:docMk/>
            <pc:sldMk cId="1081358570" sldId="603"/>
            <ac:spMk id="28" creationId="{18974CFA-53C0-4513-A225-98C00642D1D9}"/>
          </ac:spMkLst>
        </pc:spChg>
        <pc:spChg chg="add del">
          <ac:chgData name="Daniel Valero" userId="31dd2ff7-9a08-462f-9096-6c487a317220" providerId="ADAL" clId="{13C66EB5-766D-4A69-8EF8-1B215228E3C9}" dt="2020-02-25T18:48:32.966" v="4372" actId="21"/>
          <ac:spMkLst>
            <pc:docMk/>
            <pc:sldMk cId="1081358570" sldId="603"/>
            <ac:spMk id="29" creationId="{1887B5F4-B110-4720-B73B-7F114F3D54AA}"/>
          </ac:spMkLst>
        </pc:spChg>
        <pc:spChg chg="add del mod">
          <ac:chgData name="Daniel Valero" userId="31dd2ff7-9a08-462f-9096-6c487a317220" providerId="ADAL" clId="{13C66EB5-766D-4A69-8EF8-1B215228E3C9}" dt="2020-02-25T18:51:11.607" v="4496"/>
          <ac:spMkLst>
            <pc:docMk/>
            <pc:sldMk cId="1081358570" sldId="603"/>
            <ac:spMk id="30" creationId="{96DCD975-214E-43DA-9FF9-037718553FDD}"/>
          </ac:spMkLst>
        </pc:spChg>
        <pc:spChg chg="add del mod">
          <ac:chgData name="Daniel Valero" userId="31dd2ff7-9a08-462f-9096-6c487a317220" providerId="ADAL" clId="{13C66EB5-766D-4A69-8EF8-1B215228E3C9}" dt="2020-02-25T18:51:11.612" v="4498"/>
          <ac:spMkLst>
            <pc:docMk/>
            <pc:sldMk cId="1081358570" sldId="603"/>
            <ac:spMk id="31" creationId="{1606360C-2A4C-4601-816F-B40E8DB550BD}"/>
          </ac:spMkLst>
        </pc:spChg>
        <pc:spChg chg="add del mod">
          <ac:chgData name="Daniel Valero" userId="31dd2ff7-9a08-462f-9096-6c487a317220" providerId="ADAL" clId="{13C66EB5-766D-4A69-8EF8-1B215228E3C9}" dt="2020-02-25T18:51:11.615" v="4500"/>
          <ac:spMkLst>
            <pc:docMk/>
            <pc:sldMk cId="1081358570" sldId="603"/>
            <ac:spMk id="32" creationId="{51FB4478-E710-4AAD-8BA5-7EE40E6D862D}"/>
          </ac:spMkLst>
        </pc:spChg>
        <pc:spChg chg="add mod">
          <ac:chgData name="Daniel Valero" userId="31dd2ff7-9a08-462f-9096-6c487a317220" providerId="ADAL" clId="{13C66EB5-766D-4A69-8EF8-1B215228E3C9}" dt="2020-02-25T18:54:57.858" v="4626" actId="1036"/>
          <ac:spMkLst>
            <pc:docMk/>
            <pc:sldMk cId="1081358570" sldId="603"/>
            <ac:spMk id="33" creationId="{09C0E520-A9B3-4997-A27D-0B17F6B00BB8}"/>
          </ac:spMkLst>
        </pc:spChg>
        <pc:spChg chg="add mod">
          <ac:chgData name="Daniel Valero" userId="31dd2ff7-9a08-462f-9096-6c487a317220" providerId="ADAL" clId="{13C66EB5-766D-4A69-8EF8-1B215228E3C9}" dt="2020-02-25T18:54:57.858" v="4626" actId="1036"/>
          <ac:spMkLst>
            <pc:docMk/>
            <pc:sldMk cId="1081358570" sldId="603"/>
            <ac:spMk id="34" creationId="{0F51054F-0789-402B-A5ED-4665F356CAFE}"/>
          </ac:spMkLst>
        </pc:spChg>
        <pc:spChg chg="add mod">
          <ac:chgData name="Daniel Valero" userId="31dd2ff7-9a08-462f-9096-6c487a317220" providerId="ADAL" clId="{13C66EB5-766D-4A69-8EF8-1B215228E3C9}" dt="2020-02-25T18:55:05.593" v="4628" actId="14100"/>
          <ac:spMkLst>
            <pc:docMk/>
            <pc:sldMk cId="1081358570" sldId="603"/>
            <ac:spMk id="35" creationId="{E82C582F-9E37-4CA1-87E3-276BF1DE4A34}"/>
          </ac:spMkLst>
        </pc:spChg>
        <pc:picChg chg="add del">
          <ac:chgData name="Daniel Valero" userId="31dd2ff7-9a08-462f-9096-6c487a317220" providerId="ADAL" clId="{13C66EB5-766D-4A69-8EF8-1B215228E3C9}" dt="2020-02-25T18:47:28.585" v="4338" actId="478"/>
          <ac:picMkLst>
            <pc:docMk/>
            <pc:sldMk cId="1081358570" sldId="603"/>
            <ac:picMk id="6" creationId="{EB9EC028-0E75-4F88-8EF9-0C4F4541CB8A}"/>
          </ac:picMkLst>
        </pc:picChg>
        <pc:picChg chg="add mod ord">
          <ac:chgData name="Daniel Valero" userId="31dd2ff7-9a08-462f-9096-6c487a317220" providerId="ADAL" clId="{13C66EB5-766D-4A69-8EF8-1B215228E3C9}" dt="2020-02-25T18:54:57.858" v="4626" actId="1036"/>
          <ac:picMkLst>
            <pc:docMk/>
            <pc:sldMk cId="1081358570" sldId="603"/>
            <ac:picMk id="26" creationId="{729BD118-B9CA-426C-8EFD-5A194B3BCD4B}"/>
          </ac:picMkLst>
        </pc:picChg>
      </pc:sldChg>
      <pc:sldChg chg="addSp delSp modSp add mod modNotesTx">
        <pc:chgData name="Daniel Valero" userId="31dd2ff7-9a08-462f-9096-6c487a317220" providerId="ADAL" clId="{13C66EB5-766D-4A69-8EF8-1B215228E3C9}" dt="2020-02-25T18:56:44.445" v="4645" actId="14100"/>
        <pc:sldMkLst>
          <pc:docMk/>
          <pc:sldMk cId="2735926192" sldId="604"/>
        </pc:sldMkLst>
        <pc:spChg chg="mod">
          <ac:chgData name="Daniel Valero" userId="31dd2ff7-9a08-462f-9096-6c487a317220" providerId="ADAL" clId="{13C66EB5-766D-4A69-8EF8-1B215228E3C9}" dt="2020-02-24T21:19:30.278" v="1066" actId="6549"/>
          <ac:spMkLst>
            <pc:docMk/>
            <pc:sldMk cId="2735926192" sldId="604"/>
            <ac:spMk id="2" creationId="{EB67312A-9819-43C6-8D84-D9136E6CFFCC}"/>
          </ac:spMkLst>
        </pc:spChg>
        <pc:spChg chg="mod">
          <ac:chgData name="Daniel Valero" userId="31dd2ff7-9a08-462f-9096-6c487a317220" providerId="ADAL" clId="{13C66EB5-766D-4A69-8EF8-1B215228E3C9}" dt="2020-02-24T21:23:05.190" v="1135" actId="20577"/>
          <ac:spMkLst>
            <pc:docMk/>
            <pc:sldMk cId="2735926192" sldId="604"/>
            <ac:spMk id="3" creationId="{F35E8CBB-5A7D-4DEF-BAF7-8DD5D042F9E0}"/>
          </ac:spMkLst>
        </pc:spChg>
        <pc:spChg chg="add del mod">
          <ac:chgData name="Daniel Valero" userId="31dd2ff7-9a08-462f-9096-6c487a317220" providerId="ADAL" clId="{13C66EB5-766D-4A69-8EF8-1B215228E3C9}" dt="2020-02-25T18:20:45.265" v="4127" actId="552"/>
          <ac:spMkLst>
            <pc:docMk/>
            <pc:sldMk cId="2735926192" sldId="604"/>
            <ac:spMk id="4" creationId="{F3616A99-090F-45E1-9334-58D58B148205}"/>
          </ac:spMkLst>
        </pc:spChg>
        <pc:spChg chg="add del">
          <ac:chgData name="Daniel Valero" userId="31dd2ff7-9a08-462f-9096-6c487a317220" providerId="ADAL" clId="{13C66EB5-766D-4A69-8EF8-1B215228E3C9}" dt="2020-02-24T21:20:19.896" v="1078"/>
          <ac:spMkLst>
            <pc:docMk/>
            <pc:sldMk cId="2735926192" sldId="604"/>
            <ac:spMk id="5" creationId="{E70DB86F-431B-4D39-945B-1312992CB989}"/>
          </ac:spMkLst>
        </pc:spChg>
        <pc:spChg chg="add mod">
          <ac:chgData name="Daniel Valero" userId="31dd2ff7-9a08-462f-9096-6c487a317220" providerId="ADAL" clId="{13C66EB5-766D-4A69-8EF8-1B215228E3C9}" dt="2020-02-25T18:20:45.265" v="4127" actId="552"/>
          <ac:spMkLst>
            <pc:docMk/>
            <pc:sldMk cId="2735926192" sldId="604"/>
            <ac:spMk id="13" creationId="{5B7DF837-0C24-42B8-928B-750588EBDEC9}"/>
          </ac:spMkLst>
        </pc:spChg>
        <pc:spChg chg="add mod">
          <ac:chgData name="Daniel Valero" userId="31dd2ff7-9a08-462f-9096-6c487a317220" providerId="ADAL" clId="{13C66EB5-766D-4A69-8EF8-1B215228E3C9}" dt="2020-02-25T18:20:45.265" v="4127" actId="552"/>
          <ac:spMkLst>
            <pc:docMk/>
            <pc:sldMk cId="2735926192" sldId="604"/>
            <ac:spMk id="14" creationId="{AC33A00B-92E8-4F4A-A59B-2167D150465F}"/>
          </ac:spMkLst>
        </pc:spChg>
        <pc:spChg chg="add mod">
          <ac:chgData name="Daniel Valero" userId="31dd2ff7-9a08-462f-9096-6c487a317220" providerId="ADAL" clId="{13C66EB5-766D-4A69-8EF8-1B215228E3C9}" dt="2020-02-25T18:20:45.265" v="4127" actId="552"/>
          <ac:spMkLst>
            <pc:docMk/>
            <pc:sldMk cId="2735926192" sldId="604"/>
            <ac:spMk id="15" creationId="{F6B21E68-22ED-42CE-A607-124E6FC9E037}"/>
          </ac:spMkLst>
        </pc:spChg>
        <pc:spChg chg="add mod">
          <ac:chgData name="Daniel Valero" userId="31dd2ff7-9a08-462f-9096-6c487a317220" providerId="ADAL" clId="{13C66EB5-766D-4A69-8EF8-1B215228E3C9}" dt="2020-02-25T18:20:45.265" v="4127" actId="552"/>
          <ac:spMkLst>
            <pc:docMk/>
            <pc:sldMk cId="2735926192" sldId="604"/>
            <ac:spMk id="16" creationId="{EB1BF4A3-52C8-480D-8FED-F6FF4CAC78E8}"/>
          </ac:spMkLst>
        </pc:spChg>
        <pc:spChg chg="add mod">
          <ac:chgData name="Daniel Valero" userId="31dd2ff7-9a08-462f-9096-6c487a317220" providerId="ADAL" clId="{13C66EB5-766D-4A69-8EF8-1B215228E3C9}" dt="2020-02-25T18:21:48.936" v="4139" actId="1038"/>
          <ac:spMkLst>
            <pc:docMk/>
            <pc:sldMk cId="2735926192" sldId="604"/>
            <ac:spMk id="17" creationId="{7FFB5D7E-C651-4E65-A76B-C48470F09858}"/>
          </ac:spMkLst>
        </pc:spChg>
        <pc:spChg chg="add mod">
          <ac:chgData name="Daniel Valero" userId="31dd2ff7-9a08-462f-9096-6c487a317220" providerId="ADAL" clId="{13C66EB5-766D-4A69-8EF8-1B215228E3C9}" dt="2020-02-25T18:21:48.936" v="4139" actId="1038"/>
          <ac:spMkLst>
            <pc:docMk/>
            <pc:sldMk cId="2735926192" sldId="604"/>
            <ac:spMk id="18" creationId="{B04BB3DC-29AA-456A-AB33-D415DFC9D159}"/>
          </ac:spMkLst>
        </pc:spChg>
        <pc:spChg chg="add mod">
          <ac:chgData name="Daniel Valero" userId="31dd2ff7-9a08-462f-9096-6c487a317220" providerId="ADAL" clId="{13C66EB5-766D-4A69-8EF8-1B215228E3C9}" dt="2020-02-25T18:20:45.265" v="4127" actId="552"/>
          <ac:spMkLst>
            <pc:docMk/>
            <pc:sldMk cId="2735926192" sldId="604"/>
            <ac:spMk id="20" creationId="{C321B790-A42B-4615-8886-FB1C9171170D}"/>
          </ac:spMkLst>
        </pc:spChg>
        <pc:spChg chg="add mod">
          <ac:chgData name="Daniel Valero" userId="31dd2ff7-9a08-462f-9096-6c487a317220" providerId="ADAL" clId="{13C66EB5-766D-4A69-8EF8-1B215228E3C9}" dt="2020-02-25T18:21:48.936" v="4139" actId="1038"/>
          <ac:spMkLst>
            <pc:docMk/>
            <pc:sldMk cId="2735926192" sldId="604"/>
            <ac:spMk id="22" creationId="{64A2DB2D-2637-4A54-9C7F-F159894633E7}"/>
          </ac:spMkLst>
        </pc:spChg>
        <pc:spChg chg="add del">
          <ac:chgData name="Daniel Valero" userId="31dd2ff7-9a08-462f-9096-6c487a317220" providerId="ADAL" clId="{13C66EB5-766D-4A69-8EF8-1B215228E3C9}" dt="2020-02-24T21:19:16.190" v="1036" actId="478"/>
          <ac:spMkLst>
            <pc:docMk/>
            <pc:sldMk cId="2735926192" sldId="604"/>
            <ac:spMk id="23" creationId="{C9D7748A-3B30-402D-89FC-CF1E8760CC80}"/>
          </ac:spMkLst>
        </pc:spChg>
        <pc:spChg chg="add del">
          <ac:chgData name="Daniel Valero" userId="31dd2ff7-9a08-462f-9096-6c487a317220" providerId="ADAL" clId="{13C66EB5-766D-4A69-8EF8-1B215228E3C9}" dt="2020-02-24T21:19:59.419" v="1070"/>
          <ac:spMkLst>
            <pc:docMk/>
            <pc:sldMk cId="2735926192" sldId="604"/>
            <ac:spMk id="24" creationId="{5E628841-751D-4B85-98DA-E400B80911F7}"/>
          </ac:spMkLst>
        </pc:spChg>
        <pc:spChg chg="add mod">
          <ac:chgData name="Daniel Valero" userId="31dd2ff7-9a08-462f-9096-6c487a317220" providerId="ADAL" clId="{13C66EB5-766D-4A69-8EF8-1B215228E3C9}" dt="2020-02-25T18:56:44.445" v="4645" actId="14100"/>
          <ac:spMkLst>
            <pc:docMk/>
            <pc:sldMk cId="2735926192" sldId="604"/>
            <ac:spMk id="25" creationId="{A0CA769B-4521-40FE-9E23-E3CEDE217E0A}"/>
          </ac:spMkLst>
        </pc:spChg>
        <pc:spChg chg="add mod">
          <ac:chgData name="Daniel Valero" userId="31dd2ff7-9a08-462f-9096-6c487a317220" providerId="ADAL" clId="{13C66EB5-766D-4A69-8EF8-1B215228E3C9}" dt="2020-02-25T18:21:48.936" v="4139" actId="1038"/>
          <ac:spMkLst>
            <pc:docMk/>
            <pc:sldMk cId="2735926192" sldId="604"/>
            <ac:spMk id="31" creationId="{97CF827F-3129-4966-941B-B55A2806656C}"/>
          </ac:spMkLst>
        </pc:spChg>
        <pc:spChg chg="add mod">
          <ac:chgData name="Daniel Valero" userId="31dd2ff7-9a08-462f-9096-6c487a317220" providerId="ADAL" clId="{13C66EB5-766D-4A69-8EF8-1B215228E3C9}" dt="2020-02-25T18:21:48.936" v="4139" actId="1038"/>
          <ac:spMkLst>
            <pc:docMk/>
            <pc:sldMk cId="2735926192" sldId="604"/>
            <ac:spMk id="32" creationId="{D86B479E-C635-4BC1-A62C-461B394A5888}"/>
          </ac:spMkLst>
        </pc:spChg>
        <pc:spChg chg="add mod">
          <ac:chgData name="Daniel Valero" userId="31dd2ff7-9a08-462f-9096-6c487a317220" providerId="ADAL" clId="{13C66EB5-766D-4A69-8EF8-1B215228E3C9}" dt="2020-02-25T18:21:48.936" v="4139" actId="1038"/>
          <ac:spMkLst>
            <pc:docMk/>
            <pc:sldMk cId="2735926192" sldId="604"/>
            <ac:spMk id="33" creationId="{0DAC354D-F668-4AD1-BB17-9233443A4DC2}"/>
          </ac:spMkLst>
        </pc:spChg>
        <pc:picChg chg="add mod">
          <ac:chgData name="Daniel Valero" userId="31dd2ff7-9a08-462f-9096-6c487a317220" providerId="ADAL" clId="{13C66EB5-766D-4A69-8EF8-1B215228E3C9}" dt="2020-02-25T18:21:12.671" v="4131" actId="465"/>
          <ac:picMkLst>
            <pc:docMk/>
            <pc:sldMk cId="2735926192" sldId="604"/>
            <ac:picMk id="27" creationId="{40BDF551-8402-419C-AED0-07EA668E260D}"/>
          </ac:picMkLst>
        </pc:picChg>
        <pc:picChg chg="add mod">
          <ac:chgData name="Daniel Valero" userId="31dd2ff7-9a08-462f-9096-6c487a317220" providerId="ADAL" clId="{13C66EB5-766D-4A69-8EF8-1B215228E3C9}" dt="2020-02-25T18:21:12.671" v="4131" actId="465"/>
          <ac:picMkLst>
            <pc:docMk/>
            <pc:sldMk cId="2735926192" sldId="604"/>
            <ac:picMk id="28" creationId="{E3E71F0F-1328-4B9B-B339-5F62F7307EE0}"/>
          </ac:picMkLst>
        </pc:picChg>
        <pc:picChg chg="add mod">
          <ac:chgData name="Daniel Valero" userId="31dd2ff7-9a08-462f-9096-6c487a317220" providerId="ADAL" clId="{13C66EB5-766D-4A69-8EF8-1B215228E3C9}" dt="2020-02-25T18:21:12.671" v="4131" actId="465"/>
          <ac:picMkLst>
            <pc:docMk/>
            <pc:sldMk cId="2735926192" sldId="604"/>
            <ac:picMk id="29" creationId="{78457F7F-6403-4D74-B33C-984EBB69A751}"/>
          </ac:picMkLst>
        </pc:picChg>
        <pc:picChg chg="add del mod">
          <ac:chgData name="Daniel Valero" userId="31dd2ff7-9a08-462f-9096-6c487a317220" providerId="ADAL" clId="{13C66EB5-766D-4A69-8EF8-1B215228E3C9}" dt="2020-02-25T18:18:46.886" v="4083" actId="478"/>
          <ac:picMkLst>
            <pc:docMk/>
            <pc:sldMk cId="2735926192" sldId="604"/>
            <ac:picMk id="30" creationId="{343ED5D6-D1FF-4021-BECD-2371DAA45277}"/>
          </ac:picMkLst>
        </pc:picChg>
        <pc:picChg chg="add del mod">
          <ac:chgData name="Daniel Valero" userId="31dd2ff7-9a08-462f-9096-6c487a317220" providerId="ADAL" clId="{13C66EB5-766D-4A69-8EF8-1B215228E3C9}" dt="2020-02-24T21:07:57.751" v="793"/>
          <ac:picMkLst>
            <pc:docMk/>
            <pc:sldMk cId="2735926192" sldId="604"/>
            <ac:picMk id="1026" creationId="{AEC7E918-208C-445B-82F7-59B9C23552EB}"/>
          </ac:picMkLst>
        </pc:picChg>
        <pc:picChg chg="add mod">
          <ac:chgData name="Daniel Valero" userId="31dd2ff7-9a08-462f-9096-6c487a317220" providerId="ADAL" clId="{13C66EB5-766D-4A69-8EF8-1B215228E3C9}" dt="2020-02-25T18:19:58.182" v="4118" actId="465"/>
          <ac:picMkLst>
            <pc:docMk/>
            <pc:sldMk cId="2735926192" sldId="604"/>
            <ac:picMk id="1028" creationId="{11D2FFA8-8159-4269-AABB-26626E73E9B9}"/>
          </ac:picMkLst>
        </pc:picChg>
        <pc:picChg chg="add mod">
          <ac:chgData name="Daniel Valero" userId="31dd2ff7-9a08-462f-9096-6c487a317220" providerId="ADAL" clId="{13C66EB5-766D-4A69-8EF8-1B215228E3C9}" dt="2020-02-25T18:19:58.182" v="4118" actId="465"/>
          <ac:picMkLst>
            <pc:docMk/>
            <pc:sldMk cId="2735926192" sldId="604"/>
            <ac:picMk id="1030" creationId="{04594F46-8518-4FF4-B53B-6C810780F989}"/>
          </ac:picMkLst>
        </pc:picChg>
        <pc:picChg chg="add mod">
          <ac:chgData name="Daniel Valero" userId="31dd2ff7-9a08-462f-9096-6c487a317220" providerId="ADAL" clId="{13C66EB5-766D-4A69-8EF8-1B215228E3C9}" dt="2020-02-25T18:19:58.182" v="4118" actId="465"/>
          <ac:picMkLst>
            <pc:docMk/>
            <pc:sldMk cId="2735926192" sldId="604"/>
            <ac:picMk id="1032" creationId="{F14E48FE-3B7E-41F9-A032-9F3CCB6F2ABB}"/>
          </ac:picMkLst>
        </pc:picChg>
        <pc:picChg chg="add mod">
          <ac:chgData name="Daniel Valero" userId="31dd2ff7-9a08-462f-9096-6c487a317220" providerId="ADAL" clId="{13C66EB5-766D-4A69-8EF8-1B215228E3C9}" dt="2020-02-25T18:19:58.182" v="4118" actId="465"/>
          <ac:picMkLst>
            <pc:docMk/>
            <pc:sldMk cId="2735926192" sldId="604"/>
            <ac:picMk id="1034" creationId="{3E5C0A35-5AF5-4C72-B87A-845C0D7820C8}"/>
          </ac:picMkLst>
        </pc:picChg>
        <pc:picChg chg="add mod">
          <ac:chgData name="Daniel Valero" userId="31dd2ff7-9a08-462f-9096-6c487a317220" providerId="ADAL" clId="{13C66EB5-766D-4A69-8EF8-1B215228E3C9}" dt="2020-02-25T18:19:58.182" v="4118" actId="465"/>
          <ac:picMkLst>
            <pc:docMk/>
            <pc:sldMk cId="2735926192" sldId="604"/>
            <ac:picMk id="1036" creationId="{A33C7D66-DC83-4F8A-A617-968722957AF5}"/>
          </ac:picMkLst>
        </pc:picChg>
        <pc:picChg chg="add mod">
          <ac:chgData name="Daniel Valero" userId="31dd2ff7-9a08-462f-9096-6c487a317220" providerId="ADAL" clId="{13C66EB5-766D-4A69-8EF8-1B215228E3C9}" dt="2020-02-25T18:21:12.671" v="4131" actId="465"/>
          <ac:picMkLst>
            <pc:docMk/>
            <pc:sldMk cId="2735926192" sldId="604"/>
            <ac:picMk id="1038" creationId="{5C5E6286-5839-4D81-940B-CB68A66B6595}"/>
          </ac:picMkLst>
        </pc:picChg>
        <pc:picChg chg="add mod">
          <ac:chgData name="Daniel Valero" userId="31dd2ff7-9a08-462f-9096-6c487a317220" providerId="ADAL" clId="{13C66EB5-766D-4A69-8EF8-1B215228E3C9}" dt="2020-02-25T18:21:12.671" v="4131" actId="465"/>
          <ac:picMkLst>
            <pc:docMk/>
            <pc:sldMk cId="2735926192" sldId="604"/>
            <ac:picMk id="1040" creationId="{55E7F75A-ED40-422A-977C-74663B0616D8}"/>
          </ac:picMkLst>
        </pc:picChg>
        <pc:picChg chg="add mod">
          <ac:chgData name="Daniel Valero" userId="31dd2ff7-9a08-462f-9096-6c487a317220" providerId="ADAL" clId="{13C66EB5-766D-4A69-8EF8-1B215228E3C9}" dt="2020-02-25T18:19:58.182" v="4118" actId="465"/>
          <ac:picMkLst>
            <pc:docMk/>
            <pc:sldMk cId="2735926192" sldId="604"/>
            <ac:picMk id="1042" creationId="{A0B91962-D37F-450E-83EC-BEE4BF8D06B6}"/>
          </ac:picMkLst>
        </pc:picChg>
        <pc:picChg chg="add mod">
          <ac:chgData name="Daniel Valero" userId="31dd2ff7-9a08-462f-9096-6c487a317220" providerId="ADAL" clId="{13C66EB5-766D-4A69-8EF8-1B215228E3C9}" dt="2020-02-25T18:21:12.671" v="4131" actId="465"/>
          <ac:picMkLst>
            <pc:docMk/>
            <pc:sldMk cId="2735926192" sldId="604"/>
            <ac:picMk id="1044" creationId="{2F608A90-F0A6-48F7-9B94-BDEB28F2AD01}"/>
          </ac:picMkLst>
        </pc:picChg>
      </pc:sldChg>
      <pc:sldChg chg="addSp delSp modSp add mod modNotesTx">
        <pc:chgData name="Daniel Valero" userId="31dd2ff7-9a08-462f-9096-6c487a317220" providerId="ADAL" clId="{13C66EB5-766D-4A69-8EF8-1B215228E3C9}" dt="2020-02-25T18:45:32.659" v="4335" actId="12"/>
        <pc:sldMkLst>
          <pc:docMk/>
          <pc:sldMk cId="451523490" sldId="605"/>
        </pc:sldMkLst>
        <pc:spChg chg="mod">
          <ac:chgData name="Daniel Valero" userId="31dd2ff7-9a08-462f-9096-6c487a317220" providerId="ADAL" clId="{13C66EB5-766D-4A69-8EF8-1B215228E3C9}" dt="2020-02-24T22:33:35.927" v="1405" actId="790"/>
          <ac:spMkLst>
            <pc:docMk/>
            <pc:sldMk cId="451523490" sldId="605"/>
            <ac:spMk id="2" creationId="{EB67312A-9819-43C6-8D84-D9136E6CFFCC}"/>
          </ac:spMkLst>
        </pc:spChg>
        <pc:spChg chg="mod">
          <ac:chgData name="Daniel Valero" userId="31dd2ff7-9a08-462f-9096-6c487a317220" providerId="ADAL" clId="{13C66EB5-766D-4A69-8EF8-1B215228E3C9}" dt="2020-02-24T22:34:26.682" v="1418" actId="20577"/>
          <ac:spMkLst>
            <pc:docMk/>
            <pc:sldMk cId="451523490" sldId="605"/>
            <ac:spMk id="3" creationId="{F35E8CBB-5A7D-4DEF-BAF7-8DD5D042F9E0}"/>
          </ac:spMkLst>
        </pc:spChg>
        <pc:spChg chg="mod">
          <ac:chgData name="Daniel Valero" userId="31dd2ff7-9a08-462f-9096-6c487a317220" providerId="ADAL" clId="{13C66EB5-766D-4A69-8EF8-1B215228E3C9}" dt="2020-02-25T18:45:32.659" v="4335" actId="12"/>
          <ac:spMkLst>
            <pc:docMk/>
            <pc:sldMk cId="451523490" sldId="605"/>
            <ac:spMk id="4" creationId="{F3616A99-090F-45E1-9334-58D58B148205}"/>
          </ac:spMkLst>
        </pc:spChg>
        <pc:spChg chg="add del mod">
          <ac:chgData name="Daniel Valero" userId="31dd2ff7-9a08-462f-9096-6c487a317220" providerId="ADAL" clId="{13C66EB5-766D-4A69-8EF8-1B215228E3C9}" dt="2020-02-24T22:38:15.418" v="1450" actId="478"/>
          <ac:spMkLst>
            <pc:docMk/>
            <pc:sldMk cId="451523490" sldId="605"/>
            <ac:spMk id="5" creationId="{003D2DDE-6F50-4F92-9EAA-FEF33D9668A9}"/>
          </ac:spMkLst>
        </pc:spChg>
        <pc:spChg chg="add del">
          <ac:chgData name="Daniel Valero" userId="31dd2ff7-9a08-462f-9096-6c487a317220" providerId="ADAL" clId="{13C66EB5-766D-4A69-8EF8-1B215228E3C9}" dt="2020-02-24T22:37:51.855" v="1440"/>
          <ac:spMkLst>
            <pc:docMk/>
            <pc:sldMk cId="451523490" sldId="605"/>
            <ac:spMk id="7" creationId="{499F44B9-6935-4FAB-9D7F-86B07C48FFA0}"/>
          </ac:spMkLst>
        </pc:spChg>
        <pc:spChg chg="add mod">
          <ac:chgData name="Daniel Valero" userId="31dd2ff7-9a08-462f-9096-6c487a317220" providerId="ADAL" clId="{13C66EB5-766D-4A69-8EF8-1B215228E3C9}" dt="2020-02-24T22:46:32.843" v="1472" actId="1076"/>
          <ac:spMkLst>
            <pc:docMk/>
            <pc:sldMk cId="451523490" sldId="605"/>
            <ac:spMk id="9" creationId="{5CF14BD0-AFDA-488D-BF1F-B83A8143DA2F}"/>
          </ac:spMkLst>
        </pc:spChg>
        <pc:picChg chg="add del mod">
          <ac:chgData name="Daniel Valero" userId="31dd2ff7-9a08-462f-9096-6c487a317220" providerId="ADAL" clId="{13C66EB5-766D-4A69-8EF8-1B215228E3C9}" dt="2020-02-24T22:38:16.873" v="1451" actId="478"/>
          <ac:picMkLst>
            <pc:docMk/>
            <pc:sldMk cId="451523490" sldId="605"/>
            <ac:picMk id="6" creationId="{DC6DBBD2-9C12-49C3-8471-FCE8F8932E96}"/>
          </ac:picMkLst>
        </pc:picChg>
        <pc:picChg chg="add del">
          <ac:chgData name="Daniel Valero" userId="31dd2ff7-9a08-462f-9096-6c487a317220" providerId="ADAL" clId="{13C66EB5-766D-4A69-8EF8-1B215228E3C9}" dt="2020-02-24T22:37:51.855" v="1440"/>
          <ac:picMkLst>
            <pc:docMk/>
            <pc:sldMk cId="451523490" sldId="605"/>
            <ac:picMk id="8" creationId="{07BF504B-C182-4F21-BDD7-2BAE0E5305EA}"/>
          </ac:picMkLst>
        </pc:picChg>
        <pc:picChg chg="add mod">
          <ac:chgData name="Daniel Valero" userId="31dd2ff7-9a08-462f-9096-6c487a317220" providerId="ADAL" clId="{13C66EB5-766D-4A69-8EF8-1B215228E3C9}" dt="2020-02-24T23:00:30.912" v="1809" actId="1076"/>
          <ac:picMkLst>
            <pc:docMk/>
            <pc:sldMk cId="451523490" sldId="605"/>
            <ac:picMk id="10" creationId="{7E8B0F86-A58C-4432-9091-BD95C14037FE}"/>
          </ac:picMkLst>
        </pc:picChg>
      </pc:sldChg>
      <pc:sldChg chg="addSp delSp modSp add mod">
        <pc:chgData name="Daniel Valero" userId="31dd2ff7-9a08-462f-9096-6c487a317220" providerId="ADAL" clId="{13C66EB5-766D-4A69-8EF8-1B215228E3C9}" dt="2020-02-24T22:59:04.872" v="1786" actId="1076"/>
        <pc:sldMkLst>
          <pc:docMk/>
          <pc:sldMk cId="153781307" sldId="606"/>
        </pc:sldMkLst>
        <pc:spChg chg="mod">
          <ac:chgData name="Daniel Valero" userId="31dd2ff7-9a08-462f-9096-6c487a317220" providerId="ADAL" clId="{13C66EB5-766D-4A69-8EF8-1B215228E3C9}" dt="2020-02-24T22:50:29.946" v="1609"/>
          <ac:spMkLst>
            <pc:docMk/>
            <pc:sldMk cId="153781307" sldId="606"/>
            <ac:spMk id="2" creationId="{EB67312A-9819-43C6-8D84-D9136E6CFFCC}"/>
          </ac:spMkLst>
        </pc:spChg>
        <pc:spChg chg="mod">
          <ac:chgData name="Daniel Valero" userId="31dd2ff7-9a08-462f-9096-6c487a317220" providerId="ADAL" clId="{13C66EB5-766D-4A69-8EF8-1B215228E3C9}" dt="2020-02-24T22:50:40.584" v="1619" actId="20577"/>
          <ac:spMkLst>
            <pc:docMk/>
            <pc:sldMk cId="153781307" sldId="606"/>
            <ac:spMk id="3" creationId="{F35E8CBB-5A7D-4DEF-BAF7-8DD5D042F9E0}"/>
          </ac:spMkLst>
        </pc:spChg>
        <pc:spChg chg="del">
          <ac:chgData name="Daniel Valero" userId="31dd2ff7-9a08-462f-9096-6c487a317220" providerId="ADAL" clId="{13C66EB5-766D-4A69-8EF8-1B215228E3C9}" dt="2020-02-24T22:50:09.651" v="1607" actId="478"/>
          <ac:spMkLst>
            <pc:docMk/>
            <pc:sldMk cId="153781307" sldId="606"/>
            <ac:spMk id="4" creationId="{F3616A99-090F-45E1-9334-58D58B148205}"/>
          </ac:spMkLst>
        </pc:spChg>
        <pc:spChg chg="add del">
          <ac:chgData name="Daniel Valero" userId="31dd2ff7-9a08-462f-9096-6c487a317220" providerId="ADAL" clId="{13C66EB5-766D-4A69-8EF8-1B215228E3C9}" dt="2020-02-24T22:25:14.370" v="1272"/>
          <ac:spMkLst>
            <pc:docMk/>
            <pc:sldMk cId="153781307" sldId="606"/>
            <ac:spMk id="5" creationId="{FFDD80B7-E577-4097-8C5C-40F7C6153C75}"/>
          </ac:spMkLst>
        </pc:spChg>
        <pc:spChg chg="add del">
          <ac:chgData name="Daniel Valero" userId="31dd2ff7-9a08-462f-9096-6c487a317220" providerId="ADAL" clId="{13C66EB5-766D-4A69-8EF8-1B215228E3C9}" dt="2020-02-24T22:25:14.195" v="1271"/>
          <ac:spMkLst>
            <pc:docMk/>
            <pc:sldMk cId="153781307" sldId="606"/>
            <ac:spMk id="6" creationId="{8EAA43D5-9A0D-4B7F-9C00-B4D8CEDE3957}"/>
          </ac:spMkLst>
        </pc:spChg>
        <pc:spChg chg="add del">
          <ac:chgData name="Daniel Valero" userId="31dd2ff7-9a08-462f-9096-6c487a317220" providerId="ADAL" clId="{13C66EB5-766D-4A69-8EF8-1B215228E3C9}" dt="2020-02-24T22:50:07.074" v="1606"/>
          <ac:spMkLst>
            <pc:docMk/>
            <pc:sldMk cId="153781307" sldId="606"/>
            <ac:spMk id="7" creationId="{4A4149E3-EFF9-4A57-8655-A06E742392D1}"/>
          </ac:spMkLst>
        </pc:spChg>
        <pc:spChg chg="add mod">
          <ac:chgData name="Daniel Valero" userId="31dd2ff7-9a08-462f-9096-6c487a317220" providerId="ADAL" clId="{13C66EB5-766D-4A69-8EF8-1B215228E3C9}" dt="2020-02-24T22:58:43.479" v="1785" actId="14100"/>
          <ac:spMkLst>
            <pc:docMk/>
            <pc:sldMk cId="153781307" sldId="606"/>
            <ac:spMk id="9" creationId="{25A13D8C-4768-4CCE-921B-B47AB6C2A439}"/>
          </ac:spMkLst>
        </pc:spChg>
        <pc:picChg chg="add del">
          <ac:chgData name="Daniel Valero" userId="31dd2ff7-9a08-462f-9096-6c487a317220" providerId="ADAL" clId="{13C66EB5-766D-4A69-8EF8-1B215228E3C9}" dt="2020-02-24T22:50:07.074" v="1606"/>
          <ac:picMkLst>
            <pc:docMk/>
            <pc:sldMk cId="153781307" sldId="606"/>
            <ac:picMk id="8" creationId="{5556A876-8F23-4C7F-9539-7AA66917E992}"/>
          </ac:picMkLst>
        </pc:picChg>
        <pc:picChg chg="add mod">
          <ac:chgData name="Daniel Valero" userId="31dd2ff7-9a08-462f-9096-6c487a317220" providerId="ADAL" clId="{13C66EB5-766D-4A69-8EF8-1B215228E3C9}" dt="2020-02-24T22:59:04.872" v="1786" actId="1076"/>
          <ac:picMkLst>
            <pc:docMk/>
            <pc:sldMk cId="153781307" sldId="606"/>
            <ac:picMk id="10" creationId="{595F1D0A-3C3D-4001-A71C-131780BF97FC}"/>
          </ac:picMkLst>
        </pc:picChg>
      </pc:sldChg>
      <pc:sldChg chg="addSp delSp modSp add mod">
        <pc:chgData name="Daniel Valero" userId="31dd2ff7-9a08-462f-9096-6c487a317220" providerId="ADAL" clId="{13C66EB5-766D-4A69-8EF8-1B215228E3C9}" dt="2020-02-25T18:15:32.140" v="4059" actId="14100"/>
        <pc:sldMkLst>
          <pc:docMk/>
          <pc:sldMk cId="110240023" sldId="607"/>
        </pc:sldMkLst>
        <pc:spChg chg="mod">
          <ac:chgData name="Daniel Valero" userId="31dd2ff7-9a08-462f-9096-6c487a317220" providerId="ADAL" clId="{13C66EB5-766D-4A69-8EF8-1B215228E3C9}" dt="2020-02-24T21:03:18.839" v="780" actId="20577"/>
          <ac:spMkLst>
            <pc:docMk/>
            <pc:sldMk cId="110240023" sldId="607"/>
            <ac:spMk id="2" creationId="{EB67312A-9819-43C6-8D84-D9136E6CFFCC}"/>
          </ac:spMkLst>
        </pc:spChg>
        <pc:spChg chg="mod">
          <ac:chgData name="Daniel Valero" userId="31dd2ff7-9a08-462f-9096-6c487a317220" providerId="ADAL" clId="{13C66EB5-766D-4A69-8EF8-1B215228E3C9}" dt="2020-02-25T18:02:03.529" v="3554" actId="20577"/>
          <ac:spMkLst>
            <pc:docMk/>
            <pc:sldMk cId="110240023" sldId="607"/>
            <ac:spMk id="3" creationId="{F35E8CBB-5A7D-4DEF-BAF7-8DD5D042F9E0}"/>
          </ac:spMkLst>
        </pc:spChg>
        <pc:spChg chg="del mod">
          <ac:chgData name="Daniel Valero" userId="31dd2ff7-9a08-462f-9096-6c487a317220" providerId="ADAL" clId="{13C66EB5-766D-4A69-8EF8-1B215228E3C9}" dt="2020-02-25T17:56:28.511" v="3414" actId="3680"/>
          <ac:spMkLst>
            <pc:docMk/>
            <pc:sldMk cId="110240023" sldId="607"/>
            <ac:spMk id="4" creationId="{F3616A99-090F-45E1-9334-58D58B148205}"/>
          </ac:spMkLst>
        </pc:spChg>
        <pc:spChg chg="add del">
          <ac:chgData name="Daniel Valero" userId="31dd2ff7-9a08-462f-9096-6c487a317220" providerId="ADAL" clId="{13C66EB5-766D-4A69-8EF8-1B215228E3C9}" dt="2020-02-25T18:03:17.558" v="3593"/>
          <ac:spMkLst>
            <pc:docMk/>
            <pc:sldMk cId="110240023" sldId="607"/>
            <ac:spMk id="7" creationId="{AC5CE0BC-EA29-4C7C-98F7-60F7A3E5FFBC}"/>
          </ac:spMkLst>
        </pc:spChg>
        <pc:spChg chg="add mod">
          <ac:chgData name="Daniel Valero" userId="31dd2ff7-9a08-462f-9096-6c487a317220" providerId="ADAL" clId="{13C66EB5-766D-4A69-8EF8-1B215228E3C9}" dt="2020-02-25T18:15:32.140" v="4059" actId="14100"/>
          <ac:spMkLst>
            <pc:docMk/>
            <pc:sldMk cId="110240023" sldId="607"/>
            <ac:spMk id="8" creationId="{05ADF702-00A6-423F-9E00-50860C2E98AC}"/>
          </ac:spMkLst>
        </pc:spChg>
        <pc:graphicFrameChg chg="add mod ord modGraphic">
          <ac:chgData name="Daniel Valero" userId="31dd2ff7-9a08-462f-9096-6c487a317220" providerId="ADAL" clId="{13C66EB5-766D-4A69-8EF8-1B215228E3C9}" dt="2020-02-25T18:02:37.147" v="3591" actId="20577"/>
          <ac:graphicFrameMkLst>
            <pc:docMk/>
            <pc:sldMk cId="110240023" sldId="607"/>
            <ac:graphicFrameMk id="5" creationId="{8F820CDF-BD1D-4AD1-BE1D-7130A022C764}"/>
          </ac:graphicFrameMkLst>
        </pc:graphicFrameChg>
      </pc:sldChg>
      <pc:sldChg chg="addSp delSp modSp add mod modNotesTx">
        <pc:chgData name="Daniel Valero" userId="31dd2ff7-9a08-462f-9096-6c487a317220" providerId="ADAL" clId="{13C66EB5-766D-4A69-8EF8-1B215228E3C9}" dt="2020-02-25T20:40:07.971" v="5342" actId="1076"/>
        <pc:sldMkLst>
          <pc:docMk/>
          <pc:sldMk cId="2357444012" sldId="608"/>
        </pc:sldMkLst>
        <pc:spChg chg="mod">
          <ac:chgData name="Daniel Valero" userId="31dd2ff7-9a08-462f-9096-6c487a317220" providerId="ADAL" clId="{13C66EB5-766D-4A69-8EF8-1B215228E3C9}" dt="2020-02-24T21:59:24.406" v="1199" actId="20577"/>
          <ac:spMkLst>
            <pc:docMk/>
            <pc:sldMk cId="2357444012" sldId="608"/>
            <ac:spMk id="3" creationId="{F35E8CBB-5A7D-4DEF-BAF7-8DD5D042F9E0}"/>
          </ac:spMkLst>
        </pc:spChg>
        <pc:spChg chg="del">
          <ac:chgData name="Daniel Valero" userId="31dd2ff7-9a08-462f-9096-6c487a317220" providerId="ADAL" clId="{13C66EB5-766D-4A69-8EF8-1B215228E3C9}" dt="2020-02-24T21:59:01.065" v="1184" actId="478"/>
          <ac:spMkLst>
            <pc:docMk/>
            <pc:sldMk cId="2357444012" sldId="608"/>
            <ac:spMk id="4" creationId="{F3616A99-090F-45E1-9334-58D58B148205}"/>
          </ac:spMkLst>
        </pc:spChg>
        <pc:spChg chg="add del mod ord">
          <ac:chgData name="Daniel Valero" userId="31dd2ff7-9a08-462f-9096-6c487a317220" providerId="ADAL" clId="{13C66EB5-766D-4A69-8EF8-1B215228E3C9}" dt="2020-02-25T19:09:22.200" v="4932" actId="20577"/>
          <ac:spMkLst>
            <pc:docMk/>
            <pc:sldMk cId="2357444012" sldId="608"/>
            <ac:spMk id="6" creationId="{E4D47C1F-4545-4C5A-8C3A-8AC7D75E3158}"/>
          </ac:spMkLst>
        </pc:spChg>
        <pc:spChg chg="add del">
          <ac:chgData name="Daniel Valero" userId="31dd2ff7-9a08-462f-9096-6c487a317220" providerId="ADAL" clId="{13C66EB5-766D-4A69-8EF8-1B215228E3C9}" dt="2020-02-24T22:25:03.991" v="1268" actId="478"/>
          <ac:spMkLst>
            <pc:docMk/>
            <pc:sldMk cId="2357444012" sldId="608"/>
            <ac:spMk id="8" creationId="{259E6ED3-C220-4142-8FA1-311127C5C59D}"/>
          </ac:spMkLst>
        </pc:spChg>
        <pc:spChg chg="add mod">
          <ac:chgData name="Daniel Valero" userId="31dd2ff7-9a08-462f-9096-6c487a317220" providerId="ADAL" clId="{13C66EB5-766D-4A69-8EF8-1B215228E3C9}" dt="2020-02-24T22:31:58.992" v="1359" actId="1076"/>
          <ac:spMkLst>
            <pc:docMk/>
            <pc:sldMk cId="2357444012" sldId="608"/>
            <ac:spMk id="12" creationId="{336BEA86-6CFD-4CC9-AC11-CA6128F5DDE5}"/>
          </ac:spMkLst>
        </pc:spChg>
        <pc:spChg chg="del mod">
          <ac:chgData name="Daniel Valero" userId="31dd2ff7-9a08-462f-9096-6c487a317220" providerId="ADAL" clId="{13C66EB5-766D-4A69-8EF8-1B215228E3C9}" dt="2020-02-24T21:59:13.594" v="1188" actId="478"/>
          <ac:spMkLst>
            <pc:docMk/>
            <pc:sldMk cId="2357444012" sldId="608"/>
            <ac:spMk id="13" creationId="{5B7DF837-0C24-42B8-928B-750588EBDEC9}"/>
          </ac:spMkLst>
        </pc:spChg>
        <pc:spChg chg="del">
          <ac:chgData name="Daniel Valero" userId="31dd2ff7-9a08-462f-9096-6c487a317220" providerId="ADAL" clId="{13C66EB5-766D-4A69-8EF8-1B215228E3C9}" dt="2020-02-24T21:56:18.762" v="1172" actId="478"/>
          <ac:spMkLst>
            <pc:docMk/>
            <pc:sldMk cId="2357444012" sldId="608"/>
            <ac:spMk id="14" creationId="{AC33A00B-92E8-4F4A-A59B-2167D150465F}"/>
          </ac:spMkLst>
        </pc:spChg>
        <pc:spChg chg="del">
          <ac:chgData name="Daniel Valero" userId="31dd2ff7-9a08-462f-9096-6c487a317220" providerId="ADAL" clId="{13C66EB5-766D-4A69-8EF8-1B215228E3C9}" dt="2020-02-24T21:56:20.952" v="1174" actId="478"/>
          <ac:spMkLst>
            <pc:docMk/>
            <pc:sldMk cId="2357444012" sldId="608"/>
            <ac:spMk id="15" creationId="{F6B21E68-22ED-42CE-A607-124E6FC9E037}"/>
          </ac:spMkLst>
        </pc:spChg>
        <pc:spChg chg="del mod">
          <ac:chgData name="Daniel Valero" userId="31dd2ff7-9a08-462f-9096-6c487a317220" providerId="ADAL" clId="{13C66EB5-766D-4A69-8EF8-1B215228E3C9}" dt="2020-02-24T21:56:20.952" v="1174" actId="478"/>
          <ac:spMkLst>
            <pc:docMk/>
            <pc:sldMk cId="2357444012" sldId="608"/>
            <ac:spMk id="16" creationId="{EB1BF4A3-52C8-480D-8FED-F6FF4CAC78E8}"/>
          </ac:spMkLst>
        </pc:spChg>
        <pc:spChg chg="del mod">
          <ac:chgData name="Daniel Valero" userId="31dd2ff7-9a08-462f-9096-6c487a317220" providerId="ADAL" clId="{13C66EB5-766D-4A69-8EF8-1B215228E3C9}" dt="2020-02-24T21:56:26.603" v="1179" actId="478"/>
          <ac:spMkLst>
            <pc:docMk/>
            <pc:sldMk cId="2357444012" sldId="608"/>
            <ac:spMk id="17" creationId="{7FFB5D7E-C651-4E65-A76B-C48470F09858}"/>
          </ac:spMkLst>
        </pc:spChg>
        <pc:spChg chg="del">
          <ac:chgData name="Daniel Valero" userId="31dd2ff7-9a08-462f-9096-6c487a317220" providerId="ADAL" clId="{13C66EB5-766D-4A69-8EF8-1B215228E3C9}" dt="2020-02-24T21:56:25.283" v="1178" actId="478"/>
          <ac:spMkLst>
            <pc:docMk/>
            <pc:sldMk cId="2357444012" sldId="608"/>
            <ac:spMk id="18" creationId="{B04BB3DC-29AA-456A-AB33-D415DFC9D159}"/>
          </ac:spMkLst>
        </pc:spChg>
        <pc:spChg chg="add mod">
          <ac:chgData name="Daniel Valero" userId="31dd2ff7-9a08-462f-9096-6c487a317220" providerId="ADAL" clId="{13C66EB5-766D-4A69-8EF8-1B215228E3C9}" dt="2020-02-24T22:31:58.992" v="1359" actId="1076"/>
          <ac:spMkLst>
            <pc:docMk/>
            <pc:sldMk cId="2357444012" sldId="608"/>
            <ac:spMk id="19" creationId="{F030BAA5-B36C-40F0-8ECB-C2FA4702A1A6}"/>
          </ac:spMkLst>
        </pc:spChg>
        <pc:spChg chg="del mod">
          <ac:chgData name="Daniel Valero" userId="31dd2ff7-9a08-462f-9096-6c487a317220" providerId="ADAL" clId="{13C66EB5-766D-4A69-8EF8-1B215228E3C9}" dt="2020-02-24T21:56:27.441" v="1180" actId="478"/>
          <ac:spMkLst>
            <pc:docMk/>
            <pc:sldMk cId="2357444012" sldId="608"/>
            <ac:spMk id="20" creationId="{C321B790-A42B-4615-8886-FB1C9171170D}"/>
          </ac:spMkLst>
        </pc:spChg>
        <pc:spChg chg="add mod">
          <ac:chgData name="Daniel Valero" userId="31dd2ff7-9a08-462f-9096-6c487a317220" providerId="ADAL" clId="{13C66EB5-766D-4A69-8EF8-1B215228E3C9}" dt="2020-02-24T22:31:58.992" v="1359" actId="1076"/>
          <ac:spMkLst>
            <pc:docMk/>
            <pc:sldMk cId="2357444012" sldId="608"/>
            <ac:spMk id="21" creationId="{4BF813BF-53F6-4DD2-9AB4-FAF0F25D0ADF}"/>
          </ac:spMkLst>
        </pc:spChg>
        <pc:spChg chg="del">
          <ac:chgData name="Daniel Valero" userId="31dd2ff7-9a08-462f-9096-6c487a317220" providerId="ADAL" clId="{13C66EB5-766D-4A69-8EF8-1B215228E3C9}" dt="2020-02-24T21:56:28.616" v="1181" actId="478"/>
          <ac:spMkLst>
            <pc:docMk/>
            <pc:sldMk cId="2357444012" sldId="608"/>
            <ac:spMk id="22" creationId="{64A2DB2D-2637-4A54-9C7F-F159894633E7}"/>
          </ac:spMkLst>
        </pc:spChg>
        <pc:spChg chg="add mod">
          <ac:chgData name="Daniel Valero" userId="31dd2ff7-9a08-462f-9096-6c487a317220" providerId="ADAL" clId="{13C66EB5-766D-4A69-8EF8-1B215228E3C9}" dt="2020-02-24T22:31:58.992" v="1359" actId="1076"/>
          <ac:spMkLst>
            <pc:docMk/>
            <pc:sldMk cId="2357444012" sldId="608"/>
            <ac:spMk id="23" creationId="{DF445D7C-1452-44BB-9DCF-99DD02E4AFD1}"/>
          </ac:spMkLst>
        </pc:spChg>
        <pc:spChg chg="del">
          <ac:chgData name="Daniel Valero" userId="31dd2ff7-9a08-462f-9096-6c487a317220" providerId="ADAL" clId="{13C66EB5-766D-4A69-8EF8-1B215228E3C9}" dt="2020-02-24T21:59:10.284" v="1186" actId="478"/>
          <ac:spMkLst>
            <pc:docMk/>
            <pc:sldMk cId="2357444012" sldId="608"/>
            <ac:spMk id="25" creationId="{A0CA769B-4521-40FE-9E23-E3CEDE217E0A}"/>
          </ac:spMkLst>
        </pc:spChg>
        <pc:graphicFrameChg chg="add del mod modGraphic">
          <ac:chgData name="Daniel Valero" userId="31dd2ff7-9a08-462f-9096-6c487a317220" providerId="ADAL" clId="{13C66EB5-766D-4A69-8EF8-1B215228E3C9}" dt="2020-02-24T22:00:38.732" v="1242" actId="1032"/>
          <ac:graphicFrameMkLst>
            <pc:docMk/>
            <pc:sldMk cId="2357444012" sldId="608"/>
            <ac:graphicFrameMk id="7" creationId="{AAB14F4B-B9BA-499F-8FDB-D77211190519}"/>
          </ac:graphicFrameMkLst>
        </pc:graphicFrameChg>
        <pc:graphicFrameChg chg="add del modGraphic">
          <ac:chgData name="Daniel Valero" userId="31dd2ff7-9a08-462f-9096-6c487a317220" providerId="ADAL" clId="{13C66EB5-766D-4A69-8EF8-1B215228E3C9}" dt="2020-02-24T22:26:46.374" v="1281" actId="478"/>
          <ac:graphicFrameMkLst>
            <pc:docMk/>
            <pc:sldMk cId="2357444012" sldId="608"/>
            <ac:graphicFrameMk id="10" creationId="{DFAF5B3F-6FA2-429E-B6B0-CF85DE60E591}"/>
          </ac:graphicFrameMkLst>
        </pc:graphicFrameChg>
        <pc:graphicFrameChg chg="add del modGraphic">
          <ac:chgData name="Daniel Valero" userId="31dd2ff7-9a08-462f-9096-6c487a317220" providerId="ADAL" clId="{13C66EB5-766D-4A69-8EF8-1B215228E3C9}" dt="2020-02-24T22:27:04.779" v="1283" actId="478"/>
          <ac:graphicFrameMkLst>
            <pc:docMk/>
            <pc:sldMk cId="2357444012" sldId="608"/>
            <ac:graphicFrameMk id="11" creationId="{CCF41CE5-06E6-4EFA-8D3D-6AFD93BDB7C7}"/>
          </ac:graphicFrameMkLst>
        </pc:graphicFrameChg>
        <pc:picChg chg="add del mod">
          <ac:chgData name="Daniel Valero" userId="31dd2ff7-9a08-462f-9096-6c487a317220" providerId="ADAL" clId="{13C66EB5-766D-4A69-8EF8-1B215228E3C9}" dt="2020-02-25T19:09:12.960" v="4928" actId="478"/>
          <ac:picMkLst>
            <pc:docMk/>
            <pc:sldMk cId="2357444012" sldId="608"/>
            <ac:picMk id="9" creationId="{DB379C4B-6CA3-42BF-BB7A-3123A1B2B12A}"/>
          </ac:picMkLst>
        </pc:picChg>
        <pc:picChg chg="add mod">
          <ac:chgData name="Daniel Valero" userId="31dd2ff7-9a08-462f-9096-6c487a317220" providerId="ADAL" clId="{13C66EB5-766D-4A69-8EF8-1B215228E3C9}" dt="2020-02-24T22:31:58.992" v="1359" actId="1076"/>
          <ac:picMkLst>
            <pc:docMk/>
            <pc:sldMk cId="2357444012" sldId="608"/>
            <ac:picMk id="26" creationId="{530A9EE9-0B2F-46D2-9998-8EB0A84627A2}"/>
          </ac:picMkLst>
        </pc:picChg>
        <pc:picChg chg="add mod">
          <ac:chgData name="Daniel Valero" userId="31dd2ff7-9a08-462f-9096-6c487a317220" providerId="ADAL" clId="{13C66EB5-766D-4A69-8EF8-1B215228E3C9}" dt="2020-02-24T22:31:58.992" v="1359" actId="1076"/>
          <ac:picMkLst>
            <pc:docMk/>
            <pc:sldMk cId="2357444012" sldId="608"/>
            <ac:picMk id="27" creationId="{DAA039D9-9F3D-4C67-8524-BB169E94B3A8}"/>
          </ac:picMkLst>
        </pc:picChg>
        <pc:picChg chg="add del mod">
          <ac:chgData name="Daniel Valero" userId="31dd2ff7-9a08-462f-9096-6c487a317220" providerId="ADAL" clId="{13C66EB5-766D-4A69-8EF8-1B215228E3C9}" dt="2020-02-24T22:25:03.991" v="1268" actId="478"/>
          <ac:picMkLst>
            <pc:docMk/>
            <pc:sldMk cId="2357444012" sldId="608"/>
            <ac:picMk id="28" creationId="{832B662A-9325-4AB0-80C9-A62668062F10}"/>
          </ac:picMkLst>
        </pc:picChg>
        <pc:picChg chg="add mod">
          <ac:chgData name="Daniel Valero" userId="31dd2ff7-9a08-462f-9096-6c487a317220" providerId="ADAL" clId="{13C66EB5-766D-4A69-8EF8-1B215228E3C9}" dt="2020-02-24T22:31:58.992" v="1359" actId="1076"/>
          <ac:picMkLst>
            <pc:docMk/>
            <pc:sldMk cId="2357444012" sldId="608"/>
            <ac:picMk id="31" creationId="{B1BBEF7D-10F3-405D-9199-0C096029CD73}"/>
          </ac:picMkLst>
        </pc:picChg>
        <pc:picChg chg="add mod">
          <ac:chgData name="Daniel Valero" userId="31dd2ff7-9a08-462f-9096-6c487a317220" providerId="ADAL" clId="{13C66EB5-766D-4A69-8EF8-1B215228E3C9}" dt="2020-02-25T20:40:07.971" v="5342" actId="1076"/>
          <ac:picMkLst>
            <pc:docMk/>
            <pc:sldMk cId="2357444012" sldId="608"/>
            <ac:picMk id="38" creationId="{0F5B1FBB-54B7-47DA-9C8F-2769E65EB8BE}"/>
          </ac:picMkLst>
        </pc:picChg>
        <pc:picChg chg="del">
          <ac:chgData name="Daniel Valero" userId="31dd2ff7-9a08-462f-9096-6c487a317220" providerId="ADAL" clId="{13C66EB5-766D-4A69-8EF8-1B215228E3C9}" dt="2020-02-24T21:56:15.418" v="1169" actId="478"/>
          <ac:picMkLst>
            <pc:docMk/>
            <pc:sldMk cId="2357444012" sldId="608"/>
            <ac:picMk id="1028" creationId="{11D2FFA8-8159-4269-AABB-26626E73E9B9}"/>
          </ac:picMkLst>
        </pc:picChg>
        <pc:picChg chg="del">
          <ac:chgData name="Daniel Valero" userId="31dd2ff7-9a08-462f-9096-6c487a317220" providerId="ADAL" clId="{13C66EB5-766D-4A69-8EF8-1B215228E3C9}" dt="2020-02-24T21:56:16.093" v="1171" actId="478"/>
          <ac:picMkLst>
            <pc:docMk/>
            <pc:sldMk cId="2357444012" sldId="608"/>
            <ac:picMk id="1030" creationId="{04594F46-8518-4FF4-B53B-6C810780F989}"/>
          </ac:picMkLst>
        </pc:picChg>
        <pc:picChg chg="del">
          <ac:chgData name="Daniel Valero" userId="31dd2ff7-9a08-462f-9096-6c487a317220" providerId="ADAL" clId="{13C66EB5-766D-4A69-8EF8-1B215228E3C9}" dt="2020-02-24T21:59:11.806" v="1187" actId="478"/>
          <ac:picMkLst>
            <pc:docMk/>
            <pc:sldMk cId="2357444012" sldId="608"/>
            <ac:picMk id="1032" creationId="{F14E48FE-3B7E-41F9-A032-9F3CCB6F2ABB}"/>
          </ac:picMkLst>
        </pc:picChg>
        <pc:picChg chg="del">
          <ac:chgData name="Daniel Valero" userId="31dd2ff7-9a08-462f-9096-6c487a317220" providerId="ADAL" clId="{13C66EB5-766D-4A69-8EF8-1B215228E3C9}" dt="2020-02-24T21:56:19.593" v="1173" actId="478"/>
          <ac:picMkLst>
            <pc:docMk/>
            <pc:sldMk cId="2357444012" sldId="608"/>
            <ac:picMk id="1034" creationId="{3E5C0A35-5AF5-4C72-B87A-845C0D7820C8}"/>
          </ac:picMkLst>
        </pc:picChg>
        <pc:picChg chg="del">
          <ac:chgData name="Daniel Valero" userId="31dd2ff7-9a08-462f-9096-6c487a317220" providerId="ADAL" clId="{13C66EB5-766D-4A69-8EF8-1B215228E3C9}" dt="2020-02-24T21:56:20.952" v="1174" actId="478"/>
          <ac:picMkLst>
            <pc:docMk/>
            <pc:sldMk cId="2357444012" sldId="608"/>
            <ac:picMk id="1036" creationId="{A33C7D66-DC83-4F8A-A617-968722957AF5}"/>
          </ac:picMkLst>
        </pc:picChg>
        <pc:picChg chg="del">
          <ac:chgData name="Daniel Valero" userId="31dd2ff7-9a08-462f-9096-6c487a317220" providerId="ADAL" clId="{13C66EB5-766D-4A69-8EF8-1B215228E3C9}" dt="2020-02-24T21:56:23.115" v="1175" actId="478"/>
          <ac:picMkLst>
            <pc:docMk/>
            <pc:sldMk cId="2357444012" sldId="608"/>
            <ac:picMk id="1038" creationId="{5C5E6286-5839-4D81-940B-CB68A66B6595}"/>
          </ac:picMkLst>
        </pc:picChg>
        <pc:picChg chg="del">
          <ac:chgData name="Daniel Valero" userId="31dd2ff7-9a08-462f-9096-6c487a317220" providerId="ADAL" clId="{13C66EB5-766D-4A69-8EF8-1B215228E3C9}" dt="2020-02-24T21:56:23.115" v="1175" actId="478"/>
          <ac:picMkLst>
            <pc:docMk/>
            <pc:sldMk cId="2357444012" sldId="608"/>
            <ac:picMk id="1040" creationId="{55E7F75A-ED40-422A-977C-74663B0616D8}"/>
          </ac:picMkLst>
        </pc:picChg>
        <pc:picChg chg="del">
          <ac:chgData name="Daniel Valero" userId="31dd2ff7-9a08-462f-9096-6c487a317220" providerId="ADAL" clId="{13C66EB5-766D-4A69-8EF8-1B215228E3C9}" dt="2020-02-24T21:56:23.115" v="1175" actId="478"/>
          <ac:picMkLst>
            <pc:docMk/>
            <pc:sldMk cId="2357444012" sldId="608"/>
            <ac:picMk id="1042" creationId="{A0B91962-D37F-450E-83EC-BEE4BF8D06B6}"/>
          </ac:picMkLst>
        </pc:picChg>
        <pc:picChg chg="del">
          <ac:chgData name="Daniel Valero" userId="31dd2ff7-9a08-462f-9096-6c487a317220" providerId="ADAL" clId="{13C66EB5-766D-4A69-8EF8-1B215228E3C9}" dt="2020-02-24T21:56:20.952" v="1174" actId="478"/>
          <ac:picMkLst>
            <pc:docMk/>
            <pc:sldMk cId="2357444012" sldId="608"/>
            <ac:picMk id="1044" creationId="{2F608A90-F0A6-48F7-9B94-BDEB28F2AD01}"/>
          </ac:picMkLst>
        </pc:picChg>
      </pc:sldChg>
      <pc:sldChg chg="modSp add del mod modNotesTx">
        <pc:chgData name="Daniel Valero" userId="31dd2ff7-9a08-462f-9096-6c487a317220" providerId="ADAL" clId="{13C66EB5-766D-4A69-8EF8-1B215228E3C9}" dt="2020-02-24T22:52:36.328" v="1622" actId="47"/>
        <pc:sldMkLst>
          <pc:docMk/>
          <pc:sldMk cId="696613879" sldId="609"/>
        </pc:sldMkLst>
        <pc:spChg chg="mod">
          <ac:chgData name="Daniel Valero" userId="31dd2ff7-9a08-462f-9096-6c487a317220" providerId="ADAL" clId="{13C66EB5-766D-4A69-8EF8-1B215228E3C9}" dt="2020-02-24T22:34:29.463" v="1420" actId="20577"/>
          <ac:spMkLst>
            <pc:docMk/>
            <pc:sldMk cId="696613879" sldId="609"/>
            <ac:spMk id="3" creationId="{F35E8CBB-5A7D-4DEF-BAF7-8DD5D042F9E0}"/>
          </ac:spMkLst>
        </pc:spChg>
        <pc:spChg chg="mod">
          <ac:chgData name="Daniel Valero" userId="31dd2ff7-9a08-462f-9096-6c487a317220" providerId="ADAL" clId="{13C66EB5-766D-4A69-8EF8-1B215228E3C9}" dt="2020-02-24T22:48:16.100" v="1544"/>
          <ac:spMkLst>
            <pc:docMk/>
            <pc:sldMk cId="696613879" sldId="609"/>
            <ac:spMk id="4" creationId="{F3616A99-090F-45E1-9334-58D58B148205}"/>
          </ac:spMkLst>
        </pc:spChg>
      </pc:sldChg>
      <pc:sldChg chg="addSp delSp modSp add mod modNotesTx">
        <pc:chgData name="Daniel Valero" userId="31dd2ff7-9a08-462f-9096-6c487a317220" providerId="ADAL" clId="{13C66EB5-766D-4A69-8EF8-1B215228E3C9}" dt="2020-02-25T18:45:35.628" v="4336" actId="12"/>
        <pc:sldMkLst>
          <pc:docMk/>
          <pc:sldMk cId="458220930" sldId="610"/>
        </pc:sldMkLst>
        <pc:spChg chg="mod">
          <ac:chgData name="Daniel Valero" userId="31dd2ff7-9a08-462f-9096-6c487a317220" providerId="ADAL" clId="{13C66EB5-766D-4A69-8EF8-1B215228E3C9}" dt="2020-02-24T22:53:12.916" v="1643" actId="20577"/>
          <ac:spMkLst>
            <pc:docMk/>
            <pc:sldMk cId="458220930" sldId="610"/>
            <ac:spMk id="3" creationId="{F35E8CBB-5A7D-4DEF-BAF7-8DD5D042F9E0}"/>
          </ac:spMkLst>
        </pc:spChg>
        <pc:spChg chg="del">
          <ac:chgData name="Daniel Valero" userId="31dd2ff7-9a08-462f-9096-6c487a317220" providerId="ADAL" clId="{13C66EB5-766D-4A69-8EF8-1B215228E3C9}" dt="2020-02-24T22:45:52.912" v="1465" actId="478"/>
          <ac:spMkLst>
            <pc:docMk/>
            <pc:sldMk cId="458220930" sldId="610"/>
            <ac:spMk id="4" creationId="{F3616A99-090F-45E1-9334-58D58B148205}"/>
          </ac:spMkLst>
        </pc:spChg>
        <pc:spChg chg="add del mod">
          <ac:chgData name="Daniel Valero" userId="31dd2ff7-9a08-462f-9096-6c487a317220" providerId="ADAL" clId="{13C66EB5-766D-4A69-8EF8-1B215228E3C9}" dt="2020-02-24T22:56:08.726" v="1751" actId="478"/>
          <ac:spMkLst>
            <pc:docMk/>
            <pc:sldMk cId="458220930" sldId="610"/>
            <ac:spMk id="5" creationId="{B5CE0DA6-0899-4A38-87BD-787699B43C1F}"/>
          </ac:spMkLst>
        </pc:spChg>
        <pc:spChg chg="add del mod">
          <ac:chgData name="Daniel Valero" userId="31dd2ff7-9a08-462f-9096-6c487a317220" providerId="ADAL" clId="{13C66EB5-766D-4A69-8EF8-1B215228E3C9}" dt="2020-02-24T22:45:54.690" v="1466" actId="478"/>
          <ac:spMkLst>
            <pc:docMk/>
            <pc:sldMk cId="458220930" sldId="610"/>
            <ac:spMk id="7" creationId="{DD003345-F75D-47B9-AAE9-F406B4908252}"/>
          </ac:spMkLst>
        </pc:spChg>
        <pc:spChg chg="add mod">
          <ac:chgData name="Daniel Valero" userId="31dd2ff7-9a08-462f-9096-6c487a317220" providerId="ADAL" clId="{13C66EB5-766D-4A69-8EF8-1B215228E3C9}" dt="2020-02-25T18:45:35.628" v="4336" actId="12"/>
          <ac:spMkLst>
            <pc:docMk/>
            <pc:sldMk cId="458220930" sldId="610"/>
            <ac:spMk id="8" creationId="{E8C76887-6CE6-4D25-954C-4A5858E325DB}"/>
          </ac:spMkLst>
        </pc:spChg>
        <pc:spChg chg="add del mod">
          <ac:chgData name="Daniel Valero" userId="31dd2ff7-9a08-462f-9096-6c487a317220" providerId="ADAL" clId="{13C66EB5-766D-4A69-8EF8-1B215228E3C9}" dt="2020-02-24T22:56:09.828" v="1754" actId="14100"/>
          <ac:spMkLst>
            <pc:docMk/>
            <pc:sldMk cId="458220930" sldId="610"/>
            <ac:spMk id="9" creationId="{942448F0-C472-4D9E-9619-70E2DD1F57B9}"/>
          </ac:spMkLst>
        </pc:spChg>
        <pc:picChg chg="add mod">
          <ac:chgData name="Daniel Valero" userId="31dd2ff7-9a08-462f-9096-6c487a317220" providerId="ADAL" clId="{13C66EB5-766D-4A69-8EF8-1B215228E3C9}" dt="2020-02-24T23:00:38.893" v="1810" actId="1076"/>
          <ac:picMkLst>
            <pc:docMk/>
            <pc:sldMk cId="458220930" sldId="610"/>
            <ac:picMk id="10" creationId="{670214CA-F5A9-4766-801D-FB1A27E93DFD}"/>
          </ac:picMkLst>
        </pc:picChg>
      </pc:sldChg>
      <pc:sldChg chg="addSp delSp modSp add mod modNotesTx">
        <pc:chgData name="Daniel Valero" userId="31dd2ff7-9a08-462f-9096-6c487a317220" providerId="ADAL" clId="{13C66EB5-766D-4A69-8EF8-1B215228E3C9}" dt="2020-02-24T23:00:13.423" v="1804"/>
        <pc:sldMkLst>
          <pc:docMk/>
          <pc:sldMk cId="788357468" sldId="611"/>
        </pc:sldMkLst>
        <pc:spChg chg="mod">
          <ac:chgData name="Daniel Valero" userId="31dd2ff7-9a08-462f-9096-6c487a317220" providerId="ADAL" clId="{13C66EB5-766D-4A69-8EF8-1B215228E3C9}" dt="2020-02-24T22:49:18.225" v="1599" actId="20577"/>
          <ac:spMkLst>
            <pc:docMk/>
            <pc:sldMk cId="788357468" sldId="611"/>
            <ac:spMk id="3" creationId="{F35E8CBB-5A7D-4DEF-BAF7-8DD5D042F9E0}"/>
          </ac:spMkLst>
        </pc:spChg>
        <pc:spChg chg="del">
          <ac:chgData name="Daniel Valero" userId="31dd2ff7-9a08-462f-9096-6c487a317220" providerId="ADAL" clId="{13C66EB5-766D-4A69-8EF8-1B215228E3C9}" dt="2020-02-24T22:49:19.872" v="1600" actId="478"/>
          <ac:spMkLst>
            <pc:docMk/>
            <pc:sldMk cId="788357468" sldId="611"/>
            <ac:spMk id="4" creationId="{F3616A99-090F-45E1-9334-58D58B148205}"/>
          </ac:spMkLst>
        </pc:spChg>
        <pc:spChg chg="mod">
          <ac:chgData name="Daniel Valero" userId="31dd2ff7-9a08-462f-9096-6c487a317220" providerId="ADAL" clId="{13C66EB5-766D-4A69-8EF8-1B215228E3C9}" dt="2020-02-24T22:49:29.208" v="1603" actId="14100"/>
          <ac:spMkLst>
            <pc:docMk/>
            <pc:sldMk cId="788357468" sldId="611"/>
            <ac:spMk id="5" creationId="{003D2DDE-6F50-4F92-9EAA-FEF33D9668A9}"/>
          </ac:spMkLst>
        </pc:spChg>
        <pc:spChg chg="add del mod">
          <ac:chgData name="Daniel Valero" userId="31dd2ff7-9a08-462f-9096-6c487a317220" providerId="ADAL" clId="{13C66EB5-766D-4A69-8EF8-1B215228E3C9}" dt="2020-02-24T22:49:21.499" v="1601" actId="478"/>
          <ac:spMkLst>
            <pc:docMk/>
            <pc:sldMk cId="788357468" sldId="611"/>
            <ac:spMk id="8" creationId="{3AFAC371-8B3F-4070-8469-8149FE6994C9}"/>
          </ac:spMkLst>
        </pc:spChg>
        <pc:picChg chg="mod">
          <ac:chgData name="Daniel Valero" userId="31dd2ff7-9a08-462f-9096-6c487a317220" providerId="ADAL" clId="{13C66EB5-766D-4A69-8EF8-1B215228E3C9}" dt="2020-02-24T22:59:06.833" v="1787" actId="1076"/>
          <ac:picMkLst>
            <pc:docMk/>
            <pc:sldMk cId="788357468" sldId="611"/>
            <ac:picMk id="6" creationId="{DC6DBBD2-9C12-49C3-8471-FCE8F8932E96}"/>
          </ac:picMkLst>
        </pc:picChg>
        <pc:picChg chg="add del">
          <ac:chgData name="Daniel Valero" userId="31dd2ff7-9a08-462f-9096-6c487a317220" providerId="ADAL" clId="{13C66EB5-766D-4A69-8EF8-1B215228E3C9}" dt="2020-02-24T23:00:13.423" v="1804"/>
          <ac:picMkLst>
            <pc:docMk/>
            <pc:sldMk cId="788357468" sldId="611"/>
            <ac:picMk id="9" creationId="{AD093B7F-3D15-476C-86A7-43C2660490FD}"/>
          </ac:picMkLst>
        </pc:picChg>
      </pc:sldChg>
      <pc:sldChg chg="addSp modSp add mod modNotesTx">
        <pc:chgData name="Daniel Valero" userId="31dd2ff7-9a08-462f-9096-6c487a317220" providerId="ADAL" clId="{13C66EB5-766D-4A69-8EF8-1B215228E3C9}" dt="2020-02-25T18:45:38.604" v="4337" actId="12"/>
        <pc:sldMkLst>
          <pc:docMk/>
          <pc:sldMk cId="1244209906" sldId="612"/>
        </pc:sldMkLst>
        <pc:spChg chg="mod">
          <ac:chgData name="Daniel Valero" userId="31dd2ff7-9a08-462f-9096-6c487a317220" providerId="ADAL" clId="{13C66EB5-766D-4A69-8EF8-1B215228E3C9}" dt="2020-02-24T22:56:21.052" v="1766" actId="20577"/>
          <ac:spMkLst>
            <pc:docMk/>
            <pc:sldMk cId="1244209906" sldId="612"/>
            <ac:spMk id="3" creationId="{F35E8CBB-5A7D-4DEF-BAF7-8DD5D042F9E0}"/>
          </ac:spMkLst>
        </pc:spChg>
        <pc:spChg chg="mod">
          <ac:chgData name="Daniel Valero" userId="31dd2ff7-9a08-462f-9096-6c487a317220" providerId="ADAL" clId="{13C66EB5-766D-4A69-8EF8-1B215228E3C9}" dt="2020-02-25T18:45:38.604" v="4337" actId="12"/>
          <ac:spMkLst>
            <pc:docMk/>
            <pc:sldMk cId="1244209906" sldId="612"/>
            <ac:spMk id="8" creationId="{E8C76887-6CE6-4D25-954C-4A5858E325DB}"/>
          </ac:spMkLst>
        </pc:spChg>
        <pc:spChg chg="mod">
          <ac:chgData name="Daniel Valero" userId="31dd2ff7-9a08-462f-9096-6c487a317220" providerId="ADAL" clId="{13C66EB5-766D-4A69-8EF8-1B215228E3C9}" dt="2020-02-24T22:56:47.042" v="1767"/>
          <ac:spMkLst>
            <pc:docMk/>
            <pc:sldMk cId="1244209906" sldId="612"/>
            <ac:spMk id="9" creationId="{942448F0-C472-4D9E-9619-70E2DD1F57B9}"/>
          </ac:spMkLst>
        </pc:spChg>
        <pc:picChg chg="add mod">
          <ac:chgData name="Daniel Valero" userId="31dd2ff7-9a08-462f-9096-6c487a317220" providerId="ADAL" clId="{13C66EB5-766D-4A69-8EF8-1B215228E3C9}" dt="2020-02-24T23:00:52.509" v="1812" actId="1076"/>
          <ac:picMkLst>
            <pc:docMk/>
            <pc:sldMk cId="1244209906" sldId="612"/>
            <ac:picMk id="6" creationId="{52B9BDBE-9472-41E6-A3F9-62DCA39782BF}"/>
          </ac:picMkLst>
        </pc:picChg>
      </pc:sldChg>
      <pc:sldChg chg="add del">
        <pc:chgData name="Daniel Valero" userId="31dd2ff7-9a08-462f-9096-6c487a317220" providerId="ADAL" clId="{13C66EB5-766D-4A69-8EF8-1B215228E3C9}" dt="2020-02-24T22:53:07.165" v="1630" actId="47"/>
        <pc:sldMkLst>
          <pc:docMk/>
          <pc:sldMk cId="4068168916" sldId="612"/>
        </pc:sldMkLst>
      </pc:sldChg>
      <pc:sldChg chg="addSp delSp modSp add mod modNotesTx">
        <pc:chgData name="Daniel Valero" userId="31dd2ff7-9a08-462f-9096-6c487a317220" providerId="ADAL" clId="{13C66EB5-766D-4A69-8EF8-1B215228E3C9}" dt="2020-02-24T22:59:53.046" v="1802" actId="1076"/>
        <pc:sldMkLst>
          <pc:docMk/>
          <pc:sldMk cId="2144703764" sldId="613"/>
        </pc:sldMkLst>
        <pc:spChg chg="mod">
          <ac:chgData name="Daniel Valero" userId="31dd2ff7-9a08-462f-9096-6c487a317220" providerId="ADAL" clId="{13C66EB5-766D-4A69-8EF8-1B215228E3C9}" dt="2020-02-24T22:59:13.930" v="1794" actId="20577"/>
          <ac:spMkLst>
            <pc:docMk/>
            <pc:sldMk cId="2144703764" sldId="613"/>
            <ac:spMk id="3" creationId="{F35E8CBB-5A7D-4DEF-BAF7-8DD5D042F9E0}"/>
          </ac:spMkLst>
        </pc:spChg>
        <pc:spChg chg="del">
          <ac:chgData name="Daniel Valero" userId="31dd2ff7-9a08-462f-9096-6c487a317220" providerId="ADAL" clId="{13C66EB5-766D-4A69-8EF8-1B215228E3C9}" dt="2020-02-24T22:59:39.292" v="1796" actId="478"/>
          <ac:spMkLst>
            <pc:docMk/>
            <pc:sldMk cId="2144703764" sldId="613"/>
            <ac:spMk id="5" creationId="{003D2DDE-6F50-4F92-9EAA-FEF33D9668A9}"/>
          </ac:spMkLst>
        </pc:spChg>
        <pc:spChg chg="add mod">
          <ac:chgData name="Daniel Valero" userId="31dd2ff7-9a08-462f-9096-6c487a317220" providerId="ADAL" clId="{13C66EB5-766D-4A69-8EF8-1B215228E3C9}" dt="2020-02-24T22:59:48.581" v="1801" actId="14100"/>
          <ac:spMkLst>
            <pc:docMk/>
            <pc:sldMk cId="2144703764" sldId="613"/>
            <ac:spMk id="8" creationId="{011D16BD-704A-4F57-A901-F0A7869CE50B}"/>
          </ac:spMkLst>
        </pc:spChg>
        <pc:picChg chg="del">
          <ac:chgData name="Daniel Valero" userId="31dd2ff7-9a08-462f-9096-6c487a317220" providerId="ADAL" clId="{13C66EB5-766D-4A69-8EF8-1B215228E3C9}" dt="2020-02-24T22:59:39.823" v="1797" actId="478"/>
          <ac:picMkLst>
            <pc:docMk/>
            <pc:sldMk cId="2144703764" sldId="613"/>
            <ac:picMk id="6" creationId="{DC6DBBD2-9C12-49C3-8471-FCE8F8932E96}"/>
          </ac:picMkLst>
        </pc:picChg>
        <pc:picChg chg="add mod">
          <ac:chgData name="Daniel Valero" userId="31dd2ff7-9a08-462f-9096-6c487a317220" providerId="ADAL" clId="{13C66EB5-766D-4A69-8EF8-1B215228E3C9}" dt="2020-02-24T22:59:53.046" v="1802" actId="1076"/>
          <ac:picMkLst>
            <pc:docMk/>
            <pc:sldMk cId="2144703764" sldId="613"/>
            <ac:picMk id="7" creationId="{985B67AA-C7E3-42A9-B297-6819AC243876}"/>
          </ac:picMkLst>
        </pc:picChg>
      </pc:sldChg>
      <pc:sldChg chg="addSp delSp modSp add mod ord modNotesTx">
        <pc:chgData name="Daniel Valero" userId="31dd2ff7-9a08-462f-9096-6c487a317220" providerId="ADAL" clId="{13C66EB5-766D-4A69-8EF8-1B215228E3C9}" dt="2020-02-24T23:11:18.256" v="1981" actId="12"/>
        <pc:sldMkLst>
          <pc:docMk/>
          <pc:sldMk cId="1785315488" sldId="614"/>
        </pc:sldMkLst>
        <pc:spChg chg="mod">
          <ac:chgData name="Daniel Valero" userId="31dd2ff7-9a08-462f-9096-6c487a317220" providerId="ADAL" clId="{13C66EB5-766D-4A69-8EF8-1B215228E3C9}" dt="2020-02-24T23:01:58.711" v="1821" actId="20577"/>
          <ac:spMkLst>
            <pc:docMk/>
            <pc:sldMk cId="1785315488" sldId="614"/>
            <ac:spMk id="3" creationId="{F35E8CBB-5A7D-4DEF-BAF7-8DD5D042F9E0}"/>
          </ac:spMkLst>
        </pc:spChg>
        <pc:spChg chg="add del mod">
          <ac:chgData name="Daniel Valero" userId="31dd2ff7-9a08-462f-9096-6c487a317220" providerId="ADAL" clId="{13C66EB5-766D-4A69-8EF8-1B215228E3C9}" dt="2020-02-24T23:04:15.170" v="1835" actId="14100"/>
          <ac:spMkLst>
            <pc:docMk/>
            <pc:sldMk cId="1785315488" sldId="614"/>
            <ac:spMk id="5" creationId="{081B2B70-8BFF-4A7E-988E-65E48F94A9B3}"/>
          </ac:spMkLst>
        </pc:spChg>
        <pc:spChg chg="del">
          <ac:chgData name="Daniel Valero" userId="31dd2ff7-9a08-462f-9096-6c487a317220" providerId="ADAL" clId="{13C66EB5-766D-4A69-8EF8-1B215228E3C9}" dt="2020-02-24T23:02:02.012" v="1824" actId="478"/>
          <ac:spMkLst>
            <pc:docMk/>
            <pc:sldMk cId="1785315488" sldId="614"/>
            <ac:spMk id="8" creationId="{E8C76887-6CE6-4D25-954C-4A5858E325DB}"/>
          </ac:spMkLst>
        </pc:spChg>
        <pc:spChg chg="del mod">
          <ac:chgData name="Daniel Valero" userId="31dd2ff7-9a08-462f-9096-6c487a317220" providerId="ADAL" clId="{13C66EB5-766D-4A69-8EF8-1B215228E3C9}" dt="2020-02-24T23:02:00.778" v="1823" actId="478"/>
          <ac:spMkLst>
            <pc:docMk/>
            <pc:sldMk cId="1785315488" sldId="614"/>
            <ac:spMk id="9" creationId="{942448F0-C472-4D9E-9619-70E2DD1F57B9}"/>
          </ac:spMkLst>
        </pc:spChg>
        <pc:spChg chg="add mod">
          <ac:chgData name="Daniel Valero" userId="31dd2ff7-9a08-462f-9096-6c487a317220" providerId="ADAL" clId="{13C66EB5-766D-4A69-8EF8-1B215228E3C9}" dt="2020-02-24T23:10:16.087" v="1921" actId="1076"/>
          <ac:spMkLst>
            <pc:docMk/>
            <pc:sldMk cId="1785315488" sldId="614"/>
            <ac:spMk id="10" creationId="{BA7EA055-73F0-4627-871C-3B73D6D2E540}"/>
          </ac:spMkLst>
        </pc:spChg>
        <pc:graphicFrameChg chg="add mod modGraphic">
          <ac:chgData name="Daniel Valero" userId="31dd2ff7-9a08-462f-9096-6c487a317220" providerId="ADAL" clId="{13C66EB5-766D-4A69-8EF8-1B215228E3C9}" dt="2020-02-24T23:09:57.503" v="1914" actId="14100"/>
          <ac:graphicFrameMkLst>
            <pc:docMk/>
            <pc:sldMk cId="1785315488" sldId="614"/>
            <ac:graphicFrameMk id="7" creationId="{2C42F25C-0DB3-4B82-9B43-85C94330D8CB}"/>
          </ac:graphicFrameMkLst>
        </pc:graphicFrameChg>
        <pc:picChg chg="del">
          <ac:chgData name="Daniel Valero" userId="31dd2ff7-9a08-462f-9096-6c487a317220" providerId="ADAL" clId="{13C66EB5-766D-4A69-8EF8-1B215228E3C9}" dt="2020-02-24T23:04:50.915" v="1858" actId="478"/>
          <ac:picMkLst>
            <pc:docMk/>
            <pc:sldMk cId="1785315488" sldId="614"/>
            <ac:picMk id="6" creationId="{52B9BDBE-9472-41E6-A3F9-62DCA39782BF}"/>
          </ac:picMkLst>
        </pc:picChg>
      </pc:sldChg>
      <pc:sldChg chg="addSp delSp modSp add mod modNotesTx">
        <pc:chgData name="Daniel Valero" userId="31dd2ff7-9a08-462f-9096-6c487a317220" providerId="ADAL" clId="{13C66EB5-766D-4A69-8EF8-1B215228E3C9}" dt="2020-02-25T18:56:07.919" v="4641" actId="1076"/>
        <pc:sldMkLst>
          <pc:docMk/>
          <pc:sldMk cId="3804096970" sldId="615"/>
        </pc:sldMkLst>
        <pc:spChg chg="mod">
          <ac:chgData name="Daniel Valero" userId="31dd2ff7-9a08-462f-9096-6c487a317220" providerId="ADAL" clId="{13C66EB5-766D-4A69-8EF8-1B215228E3C9}" dt="2020-02-24T23:32:39.555" v="2082" actId="20577"/>
          <ac:spMkLst>
            <pc:docMk/>
            <pc:sldMk cId="3804096970" sldId="615"/>
            <ac:spMk id="3" creationId="{F35E8CBB-5A7D-4DEF-BAF7-8DD5D042F9E0}"/>
          </ac:spMkLst>
        </pc:spChg>
        <pc:spChg chg="mod">
          <ac:chgData name="Daniel Valero" userId="31dd2ff7-9a08-462f-9096-6c487a317220" providerId="ADAL" clId="{13C66EB5-766D-4A69-8EF8-1B215228E3C9}" dt="2020-02-25T18:55:56.142" v="4635" actId="1076"/>
          <ac:spMkLst>
            <pc:docMk/>
            <pc:sldMk cId="3804096970" sldId="615"/>
            <ac:spMk id="4" creationId="{F3616A99-090F-45E1-9334-58D58B148205}"/>
          </ac:spMkLst>
        </pc:spChg>
        <pc:spChg chg="del">
          <ac:chgData name="Daniel Valero" userId="31dd2ff7-9a08-462f-9096-6c487a317220" providerId="ADAL" clId="{13C66EB5-766D-4A69-8EF8-1B215228E3C9}" dt="2020-02-24T23:11:52.324" v="1986" actId="478"/>
          <ac:spMkLst>
            <pc:docMk/>
            <pc:sldMk cId="3804096970" sldId="615"/>
            <ac:spMk id="9" creationId="{5CF14BD0-AFDA-488D-BF1F-B83A8143DA2F}"/>
          </ac:spMkLst>
        </pc:spChg>
        <pc:picChg chg="add del mod">
          <ac:chgData name="Daniel Valero" userId="31dd2ff7-9a08-462f-9096-6c487a317220" providerId="ADAL" clId="{13C66EB5-766D-4A69-8EF8-1B215228E3C9}" dt="2020-02-25T18:56:06.703" v="4640" actId="478"/>
          <ac:picMkLst>
            <pc:docMk/>
            <pc:sldMk cId="3804096970" sldId="615"/>
            <ac:picMk id="7" creationId="{8CEF03F8-4B73-4E89-80DE-28B0A79F2B78}"/>
          </ac:picMkLst>
        </pc:picChg>
        <pc:picChg chg="del">
          <ac:chgData name="Daniel Valero" userId="31dd2ff7-9a08-462f-9096-6c487a317220" providerId="ADAL" clId="{13C66EB5-766D-4A69-8EF8-1B215228E3C9}" dt="2020-02-24T23:11:43.482" v="1983" actId="478"/>
          <ac:picMkLst>
            <pc:docMk/>
            <pc:sldMk cId="3804096970" sldId="615"/>
            <ac:picMk id="10" creationId="{7E8B0F86-A58C-4432-9091-BD95C14037FE}"/>
          </ac:picMkLst>
        </pc:picChg>
        <pc:picChg chg="add mod">
          <ac:chgData name="Daniel Valero" userId="31dd2ff7-9a08-462f-9096-6c487a317220" providerId="ADAL" clId="{13C66EB5-766D-4A69-8EF8-1B215228E3C9}" dt="2020-02-25T18:56:07.919" v="4641" actId="1076"/>
          <ac:picMkLst>
            <pc:docMk/>
            <pc:sldMk cId="3804096970" sldId="615"/>
            <ac:picMk id="5122" creationId="{2ABF4842-E9EB-4F95-AFC3-C83F1B5607BD}"/>
          </ac:picMkLst>
        </pc:picChg>
      </pc:sldChg>
      <pc:sldChg chg="addSp delSp modSp add mod modNotesTx">
        <pc:chgData name="Daniel Valero" userId="31dd2ff7-9a08-462f-9096-6c487a317220" providerId="ADAL" clId="{13C66EB5-766D-4A69-8EF8-1B215228E3C9}" dt="2020-02-25T18:56:11.690" v="4643"/>
        <pc:sldMkLst>
          <pc:docMk/>
          <pc:sldMk cId="3292541491" sldId="616"/>
        </pc:sldMkLst>
        <pc:spChg chg="del mod">
          <ac:chgData name="Daniel Valero" userId="31dd2ff7-9a08-462f-9096-6c487a317220" providerId="ADAL" clId="{13C66EB5-766D-4A69-8EF8-1B215228E3C9}" dt="2020-02-25T18:55:48.364" v="4632" actId="478"/>
          <ac:spMkLst>
            <pc:docMk/>
            <pc:sldMk cId="3292541491" sldId="616"/>
            <ac:spMk id="3" creationId="{F35E8CBB-5A7D-4DEF-BAF7-8DD5D042F9E0}"/>
          </ac:spMkLst>
        </pc:spChg>
        <pc:spChg chg="mod">
          <ac:chgData name="Daniel Valero" userId="31dd2ff7-9a08-462f-9096-6c487a317220" providerId="ADAL" clId="{13C66EB5-766D-4A69-8EF8-1B215228E3C9}" dt="2020-02-24T23:40:12.952" v="2320" actId="20577"/>
          <ac:spMkLst>
            <pc:docMk/>
            <pc:sldMk cId="3292541491" sldId="616"/>
            <ac:spMk id="4" creationId="{F3616A99-090F-45E1-9334-58D58B148205}"/>
          </ac:spMkLst>
        </pc:spChg>
        <pc:spChg chg="add del mod">
          <ac:chgData name="Daniel Valero" userId="31dd2ff7-9a08-462f-9096-6c487a317220" providerId="ADAL" clId="{13C66EB5-766D-4A69-8EF8-1B215228E3C9}" dt="2020-02-24T23:36:24.669" v="2134" actId="478"/>
          <ac:spMkLst>
            <pc:docMk/>
            <pc:sldMk cId="3292541491" sldId="616"/>
            <ac:spMk id="5" creationId="{803B4D59-3021-4DF1-AB6B-335DC1FACF20}"/>
          </ac:spMkLst>
        </pc:spChg>
        <pc:spChg chg="add del mod">
          <ac:chgData name="Daniel Valero" userId="31dd2ff7-9a08-462f-9096-6c487a317220" providerId="ADAL" clId="{13C66EB5-766D-4A69-8EF8-1B215228E3C9}" dt="2020-02-24T23:40:18.984" v="2327" actId="1036"/>
          <ac:spMkLst>
            <pc:docMk/>
            <pc:sldMk cId="3292541491" sldId="616"/>
            <ac:spMk id="6" creationId="{F8842B6B-AD6C-401F-904D-7A4A505688DB}"/>
          </ac:spMkLst>
        </pc:spChg>
        <pc:spChg chg="add mod">
          <ac:chgData name="Daniel Valero" userId="31dd2ff7-9a08-462f-9096-6c487a317220" providerId="ADAL" clId="{13C66EB5-766D-4A69-8EF8-1B215228E3C9}" dt="2020-02-24T23:40:18.984" v="2327" actId="1036"/>
          <ac:spMkLst>
            <pc:docMk/>
            <pc:sldMk cId="3292541491" sldId="616"/>
            <ac:spMk id="8" creationId="{63B9B722-F161-4DC3-9B99-6703E07B34E0}"/>
          </ac:spMkLst>
        </pc:spChg>
        <pc:spChg chg="add mod">
          <ac:chgData name="Daniel Valero" userId="31dd2ff7-9a08-462f-9096-6c487a317220" providerId="ADAL" clId="{13C66EB5-766D-4A69-8EF8-1B215228E3C9}" dt="2020-02-24T23:40:27.258" v="2332" actId="1076"/>
          <ac:spMkLst>
            <pc:docMk/>
            <pc:sldMk cId="3292541491" sldId="616"/>
            <ac:spMk id="9" creationId="{C1C8E9F5-5846-45F0-9E02-D14844D69038}"/>
          </ac:spMkLst>
        </pc:spChg>
        <pc:spChg chg="add del">
          <ac:chgData name="Daniel Valero" userId="31dd2ff7-9a08-462f-9096-6c487a317220" providerId="ADAL" clId="{13C66EB5-766D-4A69-8EF8-1B215228E3C9}" dt="2020-02-24T23:39:11.234" v="2282"/>
          <ac:spMkLst>
            <pc:docMk/>
            <pc:sldMk cId="3292541491" sldId="616"/>
            <ac:spMk id="10" creationId="{04655D06-0F35-4836-8581-011AD3BB0010}"/>
          </ac:spMkLst>
        </pc:spChg>
        <pc:spChg chg="add mod">
          <ac:chgData name="Daniel Valero" userId="31dd2ff7-9a08-462f-9096-6c487a317220" providerId="ADAL" clId="{13C66EB5-766D-4A69-8EF8-1B215228E3C9}" dt="2020-02-25T18:55:48.364" v="4632" actId="478"/>
          <ac:spMkLst>
            <pc:docMk/>
            <pc:sldMk cId="3292541491" sldId="616"/>
            <ac:spMk id="11" creationId="{FFAAFCAB-7AC9-4807-ACDA-4668ED10F3AF}"/>
          </ac:spMkLst>
        </pc:spChg>
        <pc:picChg chg="del">
          <ac:chgData name="Daniel Valero" userId="31dd2ff7-9a08-462f-9096-6c487a317220" providerId="ADAL" clId="{13C66EB5-766D-4A69-8EF8-1B215228E3C9}" dt="2020-02-25T18:56:11.035" v="4642" actId="478"/>
          <ac:picMkLst>
            <pc:docMk/>
            <pc:sldMk cId="3292541491" sldId="616"/>
            <ac:picMk id="7" creationId="{8CEF03F8-4B73-4E89-80DE-28B0A79F2B78}"/>
          </ac:picMkLst>
        </pc:picChg>
        <pc:picChg chg="add">
          <ac:chgData name="Daniel Valero" userId="31dd2ff7-9a08-462f-9096-6c487a317220" providerId="ADAL" clId="{13C66EB5-766D-4A69-8EF8-1B215228E3C9}" dt="2020-02-25T18:56:11.690" v="4643"/>
          <ac:picMkLst>
            <pc:docMk/>
            <pc:sldMk cId="3292541491" sldId="616"/>
            <ac:picMk id="13" creationId="{BDFA756D-3080-467C-A3AC-4BB7340A2D72}"/>
          </ac:picMkLst>
        </pc:picChg>
        <pc:picChg chg="add del mod">
          <ac:chgData name="Daniel Valero" userId="31dd2ff7-9a08-462f-9096-6c487a317220" providerId="ADAL" clId="{13C66EB5-766D-4A69-8EF8-1B215228E3C9}" dt="2020-02-25T18:55:48.364" v="4632" actId="478"/>
          <ac:picMkLst>
            <pc:docMk/>
            <pc:sldMk cId="3292541491" sldId="616"/>
            <ac:picMk id="4098" creationId="{B1B5398C-2FFE-4F99-A04D-934733ACB91E}"/>
          </ac:picMkLst>
        </pc:picChg>
      </pc:sldChg>
      <pc:sldChg chg="addSp delSp modSp add mod delAnim modAnim modNotesTx">
        <pc:chgData name="Daniel Valero" userId="31dd2ff7-9a08-462f-9096-6c487a317220" providerId="ADAL" clId="{13C66EB5-766D-4A69-8EF8-1B215228E3C9}" dt="2020-02-25T17:30:38.695" v="2681" actId="790"/>
        <pc:sldMkLst>
          <pc:docMk/>
          <pc:sldMk cId="3894491069" sldId="617"/>
        </pc:sldMkLst>
        <pc:spChg chg="mod">
          <ac:chgData name="Daniel Valero" userId="31dd2ff7-9a08-462f-9096-6c487a317220" providerId="ADAL" clId="{13C66EB5-766D-4A69-8EF8-1B215228E3C9}" dt="2020-02-25T17:30:38.695" v="2681" actId="790"/>
          <ac:spMkLst>
            <pc:docMk/>
            <pc:sldMk cId="3894491069" sldId="617"/>
            <ac:spMk id="2" creationId="{EB67312A-9819-43C6-8D84-D9136E6CFFCC}"/>
          </ac:spMkLst>
        </pc:spChg>
        <pc:spChg chg="mod">
          <ac:chgData name="Daniel Valero" userId="31dd2ff7-9a08-462f-9096-6c487a317220" providerId="ADAL" clId="{13C66EB5-766D-4A69-8EF8-1B215228E3C9}" dt="2020-02-25T17:30:38.695" v="2681" actId="790"/>
          <ac:spMkLst>
            <pc:docMk/>
            <pc:sldMk cId="3894491069" sldId="617"/>
            <ac:spMk id="3" creationId="{F35E8CBB-5A7D-4DEF-BAF7-8DD5D042F9E0}"/>
          </ac:spMkLst>
        </pc:spChg>
        <pc:spChg chg="add del mod">
          <ac:chgData name="Daniel Valero" userId="31dd2ff7-9a08-462f-9096-6c487a317220" providerId="ADAL" clId="{13C66EB5-766D-4A69-8EF8-1B215228E3C9}" dt="2020-02-25T17:28:01.339" v="2667" actId="478"/>
          <ac:spMkLst>
            <pc:docMk/>
            <pc:sldMk cId="3894491069" sldId="617"/>
            <ac:spMk id="4" creationId="{A6ADCEF1-3049-41E0-938A-5456122D1069}"/>
          </ac:spMkLst>
        </pc:spChg>
        <pc:spChg chg="del mod">
          <ac:chgData name="Daniel Valero" userId="31dd2ff7-9a08-462f-9096-6c487a317220" providerId="ADAL" clId="{13C66EB5-766D-4A69-8EF8-1B215228E3C9}" dt="2020-02-25T15:04:46.468" v="2384" actId="478"/>
          <ac:spMkLst>
            <pc:docMk/>
            <pc:sldMk cId="3894491069" sldId="617"/>
            <ac:spMk id="5" creationId="{9FD93DC8-1DF7-4B66-8DBA-227D054D5066}"/>
          </ac:spMkLst>
        </pc:spChg>
        <pc:spChg chg="del">
          <ac:chgData name="Daniel Valero" userId="31dd2ff7-9a08-462f-9096-6c487a317220" providerId="ADAL" clId="{13C66EB5-766D-4A69-8EF8-1B215228E3C9}" dt="2020-02-25T15:04:46.022" v="2383" actId="478"/>
          <ac:spMkLst>
            <pc:docMk/>
            <pc:sldMk cId="3894491069" sldId="617"/>
            <ac:spMk id="6" creationId="{2D8F3FCD-8B5B-4696-B96D-6F972D025CC3}"/>
          </ac:spMkLst>
        </pc:spChg>
        <pc:spChg chg="add del mod">
          <ac:chgData name="Daniel Valero" userId="31dd2ff7-9a08-462f-9096-6c487a317220" providerId="ADAL" clId="{13C66EB5-766D-4A69-8EF8-1B215228E3C9}" dt="2020-02-25T17:27:56.258" v="2664" actId="478"/>
          <ac:spMkLst>
            <pc:docMk/>
            <pc:sldMk cId="3894491069" sldId="617"/>
            <ac:spMk id="7" creationId="{969F47C3-47A1-4C6F-B6B9-4429DB141C5C}"/>
          </ac:spMkLst>
        </pc:spChg>
        <pc:spChg chg="add del">
          <ac:chgData name="Daniel Valero" userId="31dd2ff7-9a08-462f-9096-6c487a317220" providerId="ADAL" clId="{13C66EB5-766D-4A69-8EF8-1B215228E3C9}" dt="2020-02-25T15:06:27.629" v="2400" actId="478"/>
          <ac:spMkLst>
            <pc:docMk/>
            <pc:sldMk cId="3894491069" sldId="617"/>
            <ac:spMk id="8" creationId="{854C947D-473A-473B-9CBD-A56E67C4648E}"/>
          </ac:spMkLst>
        </pc:spChg>
        <pc:spChg chg="add del">
          <ac:chgData name="Daniel Valero" userId="31dd2ff7-9a08-462f-9096-6c487a317220" providerId="ADAL" clId="{13C66EB5-766D-4A69-8EF8-1B215228E3C9}" dt="2020-02-25T15:06:27.629" v="2400" actId="478"/>
          <ac:spMkLst>
            <pc:docMk/>
            <pc:sldMk cId="3894491069" sldId="617"/>
            <ac:spMk id="9" creationId="{D0573FE1-2EE3-4E25-A778-705D51EC52BF}"/>
          </ac:spMkLst>
        </pc:spChg>
        <pc:spChg chg="add del">
          <ac:chgData name="Daniel Valero" userId="31dd2ff7-9a08-462f-9096-6c487a317220" providerId="ADAL" clId="{13C66EB5-766D-4A69-8EF8-1B215228E3C9}" dt="2020-02-25T15:06:27.629" v="2400" actId="478"/>
          <ac:spMkLst>
            <pc:docMk/>
            <pc:sldMk cId="3894491069" sldId="617"/>
            <ac:spMk id="10" creationId="{9E8EE1C2-62A1-4CED-95EA-8B9EB7E19D9D}"/>
          </ac:spMkLst>
        </pc:spChg>
        <pc:spChg chg="add del">
          <ac:chgData name="Daniel Valero" userId="31dd2ff7-9a08-462f-9096-6c487a317220" providerId="ADAL" clId="{13C66EB5-766D-4A69-8EF8-1B215228E3C9}" dt="2020-02-25T15:06:36.829" v="2402" actId="478"/>
          <ac:spMkLst>
            <pc:docMk/>
            <pc:sldMk cId="3894491069" sldId="617"/>
            <ac:spMk id="11" creationId="{CFA313AC-206E-4FDB-B8D4-09B01BAF06CD}"/>
          </ac:spMkLst>
        </pc:spChg>
        <pc:spChg chg="add del">
          <ac:chgData name="Daniel Valero" userId="31dd2ff7-9a08-462f-9096-6c487a317220" providerId="ADAL" clId="{13C66EB5-766D-4A69-8EF8-1B215228E3C9}" dt="2020-02-25T15:06:36.829" v="2402" actId="478"/>
          <ac:spMkLst>
            <pc:docMk/>
            <pc:sldMk cId="3894491069" sldId="617"/>
            <ac:spMk id="12" creationId="{A413A7B6-66BF-4376-9D62-C00094B2A094}"/>
          </ac:spMkLst>
        </pc:spChg>
        <pc:spChg chg="add del">
          <ac:chgData name="Daniel Valero" userId="31dd2ff7-9a08-462f-9096-6c487a317220" providerId="ADAL" clId="{13C66EB5-766D-4A69-8EF8-1B215228E3C9}" dt="2020-02-25T15:06:36.829" v="2402" actId="478"/>
          <ac:spMkLst>
            <pc:docMk/>
            <pc:sldMk cId="3894491069" sldId="617"/>
            <ac:spMk id="13" creationId="{CF8D43C5-4430-40DA-B1DC-33961D382C07}"/>
          </ac:spMkLst>
        </pc:spChg>
        <pc:spChg chg="add del">
          <ac:chgData name="Daniel Valero" userId="31dd2ff7-9a08-462f-9096-6c487a317220" providerId="ADAL" clId="{13C66EB5-766D-4A69-8EF8-1B215228E3C9}" dt="2020-02-25T15:06:36.829" v="2402" actId="478"/>
          <ac:spMkLst>
            <pc:docMk/>
            <pc:sldMk cId="3894491069" sldId="617"/>
            <ac:spMk id="14" creationId="{94B637B5-4049-418F-B758-A672C10D36D9}"/>
          </ac:spMkLst>
        </pc:spChg>
        <pc:spChg chg="add del mod">
          <ac:chgData name="Daniel Valero" userId="31dd2ff7-9a08-462f-9096-6c487a317220" providerId="ADAL" clId="{13C66EB5-766D-4A69-8EF8-1B215228E3C9}" dt="2020-02-25T17:23:45.200" v="2608" actId="478"/>
          <ac:spMkLst>
            <pc:docMk/>
            <pc:sldMk cId="3894491069" sldId="617"/>
            <ac:spMk id="15" creationId="{CBD25A02-82B9-4340-974E-89834E9AE4EE}"/>
          </ac:spMkLst>
        </pc:spChg>
        <pc:spChg chg="add del mod">
          <ac:chgData name="Daniel Valero" userId="31dd2ff7-9a08-462f-9096-6c487a317220" providerId="ADAL" clId="{13C66EB5-766D-4A69-8EF8-1B215228E3C9}" dt="2020-02-25T17:23:52.224" v="2611" actId="478"/>
          <ac:spMkLst>
            <pc:docMk/>
            <pc:sldMk cId="3894491069" sldId="617"/>
            <ac:spMk id="17" creationId="{489A0049-7F01-401B-A0F6-55017244DB74}"/>
          </ac:spMkLst>
        </pc:spChg>
        <pc:spChg chg="add del mod">
          <ac:chgData name="Daniel Valero" userId="31dd2ff7-9a08-462f-9096-6c487a317220" providerId="ADAL" clId="{13C66EB5-766D-4A69-8EF8-1B215228E3C9}" dt="2020-02-25T17:28:07.076" v="2672" actId="478"/>
          <ac:spMkLst>
            <pc:docMk/>
            <pc:sldMk cId="3894491069" sldId="617"/>
            <ac:spMk id="19" creationId="{3F8B4484-A5F3-44A6-93FE-1457242A64FE}"/>
          </ac:spMkLst>
        </pc:spChg>
        <pc:spChg chg="add del mod">
          <ac:chgData name="Daniel Valero" userId="31dd2ff7-9a08-462f-9096-6c487a317220" providerId="ADAL" clId="{13C66EB5-766D-4A69-8EF8-1B215228E3C9}" dt="2020-02-25T17:28:05.507" v="2671" actId="478"/>
          <ac:spMkLst>
            <pc:docMk/>
            <pc:sldMk cId="3894491069" sldId="617"/>
            <ac:spMk id="20" creationId="{B31FF57A-BE28-4845-A959-442C74317B08}"/>
          </ac:spMkLst>
        </pc:spChg>
        <pc:spChg chg="add del">
          <ac:chgData name="Daniel Valero" userId="31dd2ff7-9a08-462f-9096-6c487a317220" providerId="ADAL" clId="{13C66EB5-766D-4A69-8EF8-1B215228E3C9}" dt="2020-02-25T17:23:41.500" v="2606"/>
          <ac:spMkLst>
            <pc:docMk/>
            <pc:sldMk cId="3894491069" sldId="617"/>
            <ac:spMk id="21" creationId="{68CFFFCB-D60C-4ABF-ACCF-1012776A578B}"/>
          </ac:spMkLst>
        </pc:spChg>
        <pc:spChg chg="add del mod">
          <ac:chgData name="Daniel Valero" userId="31dd2ff7-9a08-462f-9096-6c487a317220" providerId="ADAL" clId="{13C66EB5-766D-4A69-8EF8-1B215228E3C9}" dt="2020-02-25T17:28:04.628" v="2670" actId="478"/>
          <ac:spMkLst>
            <pc:docMk/>
            <pc:sldMk cId="3894491069" sldId="617"/>
            <ac:spMk id="22" creationId="{4A9F8B29-604A-4669-92D1-BA349880FD5F}"/>
          </ac:spMkLst>
        </pc:spChg>
        <pc:spChg chg="add mod ord">
          <ac:chgData name="Daniel Valero" userId="31dd2ff7-9a08-462f-9096-6c487a317220" providerId="ADAL" clId="{13C66EB5-766D-4A69-8EF8-1B215228E3C9}" dt="2020-02-25T17:30:38.695" v="2681" actId="790"/>
          <ac:spMkLst>
            <pc:docMk/>
            <pc:sldMk cId="3894491069" sldId="617"/>
            <ac:spMk id="24" creationId="{DE034EBD-3180-49C9-A72B-7FFAE4FCF0FA}"/>
          </ac:spMkLst>
        </pc:spChg>
        <pc:picChg chg="add del mod">
          <ac:chgData name="Daniel Valero" userId="31dd2ff7-9a08-462f-9096-6c487a317220" providerId="ADAL" clId="{13C66EB5-766D-4A69-8EF8-1B215228E3C9}" dt="2020-02-25T17:28:02.280" v="2668" actId="478"/>
          <ac:picMkLst>
            <pc:docMk/>
            <pc:sldMk cId="3894491069" sldId="617"/>
            <ac:picMk id="16" creationId="{A1948D66-D986-4C41-85D0-B9783B322996}"/>
          </ac:picMkLst>
        </pc:picChg>
        <pc:picChg chg="add del mod">
          <ac:chgData name="Daniel Valero" userId="31dd2ff7-9a08-462f-9096-6c487a317220" providerId="ADAL" clId="{13C66EB5-766D-4A69-8EF8-1B215228E3C9}" dt="2020-02-25T17:28:03.116" v="2669" actId="478"/>
          <ac:picMkLst>
            <pc:docMk/>
            <pc:sldMk cId="3894491069" sldId="617"/>
            <ac:picMk id="18" creationId="{A2EC7757-0C8A-49E7-A6DB-A49E4C791CFD}"/>
          </ac:picMkLst>
        </pc:picChg>
      </pc:sldChg>
      <pc:sldChg chg="addSp delSp modSp add mod delAnim modAnim modNotesTx">
        <pc:chgData name="Daniel Valero" userId="31dd2ff7-9a08-462f-9096-6c487a317220" providerId="ADAL" clId="{13C66EB5-766D-4A69-8EF8-1B215228E3C9}" dt="2020-02-25T17:01:22.789" v="2604" actId="790"/>
        <pc:sldMkLst>
          <pc:docMk/>
          <pc:sldMk cId="508126509" sldId="618"/>
        </pc:sldMkLst>
        <pc:spChg chg="del mod">
          <ac:chgData name="Daniel Valero" userId="31dd2ff7-9a08-462f-9096-6c487a317220" providerId="ADAL" clId="{13C66EB5-766D-4A69-8EF8-1B215228E3C9}" dt="2020-02-25T17:01:03.034" v="2559" actId="478"/>
          <ac:spMkLst>
            <pc:docMk/>
            <pc:sldMk cId="508126509" sldId="618"/>
            <ac:spMk id="2" creationId="{EB67312A-9819-43C6-8D84-D9136E6CFFCC}"/>
          </ac:spMkLst>
        </pc:spChg>
        <pc:spChg chg="del mod">
          <ac:chgData name="Daniel Valero" userId="31dd2ff7-9a08-462f-9096-6c487a317220" providerId="ADAL" clId="{13C66EB5-766D-4A69-8EF8-1B215228E3C9}" dt="2020-02-25T17:01:03.034" v="2559" actId="478"/>
          <ac:spMkLst>
            <pc:docMk/>
            <pc:sldMk cId="508126509" sldId="618"/>
            <ac:spMk id="3" creationId="{F35E8CBB-5A7D-4DEF-BAF7-8DD5D042F9E0}"/>
          </ac:spMkLst>
        </pc:spChg>
        <pc:spChg chg="add mod ord">
          <ac:chgData name="Daniel Valero" userId="31dd2ff7-9a08-462f-9096-6c487a317220" providerId="ADAL" clId="{13C66EB5-766D-4A69-8EF8-1B215228E3C9}" dt="2020-02-25T17:01:22.789" v="2604" actId="790"/>
          <ac:spMkLst>
            <pc:docMk/>
            <pc:sldMk cId="508126509" sldId="618"/>
            <ac:spMk id="5" creationId="{35622013-AD39-49E7-86B3-948ECEC8BF96}"/>
          </ac:spMkLst>
        </pc:spChg>
        <pc:spChg chg="del">
          <ac:chgData name="Daniel Valero" userId="31dd2ff7-9a08-462f-9096-6c487a317220" providerId="ADAL" clId="{13C66EB5-766D-4A69-8EF8-1B215228E3C9}" dt="2020-02-25T16:22:11.707" v="2434" actId="478"/>
          <ac:spMkLst>
            <pc:docMk/>
            <pc:sldMk cId="508126509" sldId="618"/>
            <ac:spMk id="7" creationId="{969F47C3-47A1-4C6F-B6B9-4429DB141C5C}"/>
          </ac:spMkLst>
        </pc:spChg>
        <pc:spChg chg="del">
          <ac:chgData name="Daniel Valero" userId="31dd2ff7-9a08-462f-9096-6c487a317220" providerId="ADAL" clId="{13C66EB5-766D-4A69-8EF8-1B215228E3C9}" dt="2020-02-25T16:22:05.732" v="2428" actId="478"/>
          <ac:spMkLst>
            <pc:docMk/>
            <pc:sldMk cId="508126509" sldId="618"/>
            <ac:spMk id="15" creationId="{CBD25A02-82B9-4340-974E-89834E9AE4EE}"/>
          </ac:spMkLst>
        </pc:spChg>
        <pc:spChg chg="del mod">
          <ac:chgData name="Daniel Valero" userId="31dd2ff7-9a08-462f-9096-6c487a317220" providerId="ADAL" clId="{13C66EB5-766D-4A69-8EF8-1B215228E3C9}" dt="2020-02-25T16:22:08.001" v="2432" actId="478"/>
          <ac:spMkLst>
            <pc:docMk/>
            <pc:sldMk cId="508126509" sldId="618"/>
            <ac:spMk id="17" creationId="{489A0049-7F01-401B-A0F6-55017244DB74}"/>
          </ac:spMkLst>
        </pc:spChg>
        <pc:spChg chg="del">
          <ac:chgData name="Daniel Valero" userId="31dd2ff7-9a08-462f-9096-6c487a317220" providerId="ADAL" clId="{13C66EB5-766D-4A69-8EF8-1B215228E3C9}" dt="2020-02-25T16:22:23.616" v="2439" actId="478"/>
          <ac:spMkLst>
            <pc:docMk/>
            <pc:sldMk cId="508126509" sldId="618"/>
            <ac:spMk id="19" creationId="{3F8B4484-A5F3-44A6-93FE-1457242A64FE}"/>
          </ac:spMkLst>
        </pc:spChg>
        <pc:spChg chg="del">
          <ac:chgData name="Daniel Valero" userId="31dd2ff7-9a08-462f-9096-6c487a317220" providerId="ADAL" clId="{13C66EB5-766D-4A69-8EF8-1B215228E3C9}" dt="2020-02-25T16:22:07.453" v="2431" actId="478"/>
          <ac:spMkLst>
            <pc:docMk/>
            <pc:sldMk cId="508126509" sldId="618"/>
            <ac:spMk id="20" creationId="{B31FF57A-BE28-4845-A959-442C74317B08}"/>
          </ac:spMkLst>
        </pc:spChg>
        <pc:spChg chg="add del">
          <ac:chgData name="Daniel Valero" userId="31dd2ff7-9a08-462f-9096-6c487a317220" providerId="ADAL" clId="{13C66EB5-766D-4A69-8EF8-1B215228E3C9}" dt="2020-02-25T16:24:44.403" v="2455"/>
          <ac:spMkLst>
            <pc:docMk/>
            <pc:sldMk cId="508126509" sldId="618"/>
            <ac:spMk id="21" creationId="{3A163248-8882-49B2-A6A1-8023E2A09787}"/>
          </ac:spMkLst>
        </pc:spChg>
        <pc:spChg chg="add del">
          <ac:chgData name="Daniel Valero" userId="31dd2ff7-9a08-462f-9096-6c487a317220" providerId="ADAL" clId="{13C66EB5-766D-4A69-8EF8-1B215228E3C9}" dt="2020-02-25T16:24:44.403" v="2455"/>
          <ac:spMkLst>
            <pc:docMk/>
            <pc:sldMk cId="508126509" sldId="618"/>
            <ac:spMk id="24" creationId="{580A2A7E-27DA-4C3D-860A-6CD5DF6CF649}"/>
          </ac:spMkLst>
        </pc:spChg>
        <pc:spChg chg="add del">
          <ac:chgData name="Daniel Valero" userId="31dd2ff7-9a08-462f-9096-6c487a317220" providerId="ADAL" clId="{13C66EB5-766D-4A69-8EF8-1B215228E3C9}" dt="2020-02-25T16:24:44.403" v="2455"/>
          <ac:spMkLst>
            <pc:docMk/>
            <pc:sldMk cId="508126509" sldId="618"/>
            <ac:spMk id="25" creationId="{B2AE5E93-DF97-4E69-AD6C-56C7F654937D}"/>
          </ac:spMkLst>
        </pc:spChg>
        <pc:spChg chg="add del">
          <ac:chgData name="Daniel Valero" userId="31dd2ff7-9a08-462f-9096-6c487a317220" providerId="ADAL" clId="{13C66EB5-766D-4A69-8EF8-1B215228E3C9}" dt="2020-02-25T16:24:44.403" v="2455"/>
          <ac:spMkLst>
            <pc:docMk/>
            <pc:sldMk cId="508126509" sldId="618"/>
            <ac:spMk id="26" creationId="{C42C05B3-5932-41C1-9674-EB2ED82BC983}"/>
          </ac:spMkLst>
        </pc:spChg>
        <pc:spChg chg="add del">
          <ac:chgData name="Daniel Valero" userId="31dd2ff7-9a08-462f-9096-6c487a317220" providerId="ADAL" clId="{13C66EB5-766D-4A69-8EF8-1B215228E3C9}" dt="2020-02-25T16:24:44.403" v="2455"/>
          <ac:spMkLst>
            <pc:docMk/>
            <pc:sldMk cId="508126509" sldId="618"/>
            <ac:spMk id="27" creationId="{64AC3AA2-9B16-454B-8612-C307217ECEB8}"/>
          </ac:spMkLst>
        </pc:spChg>
        <pc:spChg chg="add del">
          <ac:chgData name="Daniel Valero" userId="31dd2ff7-9a08-462f-9096-6c487a317220" providerId="ADAL" clId="{13C66EB5-766D-4A69-8EF8-1B215228E3C9}" dt="2020-02-25T16:24:44.403" v="2455"/>
          <ac:spMkLst>
            <pc:docMk/>
            <pc:sldMk cId="508126509" sldId="618"/>
            <ac:spMk id="28" creationId="{760143B3-3B48-4FE8-B80F-C62D8AC1F87A}"/>
          </ac:spMkLst>
        </pc:spChg>
        <pc:spChg chg="add del">
          <ac:chgData name="Daniel Valero" userId="31dd2ff7-9a08-462f-9096-6c487a317220" providerId="ADAL" clId="{13C66EB5-766D-4A69-8EF8-1B215228E3C9}" dt="2020-02-25T16:24:44.403" v="2455"/>
          <ac:spMkLst>
            <pc:docMk/>
            <pc:sldMk cId="508126509" sldId="618"/>
            <ac:spMk id="29" creationId="{FED96721-933E-4180-9F92-1CC5055374A8}"/>
          </ac:spMkLst>
        </pc:spChg>
        <pc:spChg chg="add del">
          <ac:chgData name="Daniel Valero" userId="31dd2ff7-9a08-462f-9096-6c487a317220" providerId="ADAL" clId="{13C66EB5-766D-4A69-8EF8-1B215228E3C9}" dt="2020-02-25T16:24:44.403" v="2455"/>
          <ac:spMkLst>
            <pc:docMk/>
            <pc:sldMk cId="508126509" sldId="618"/>
            <ac:spMk id="30" creationId="{32945D31-CBFF-4373-99C9-BB83E213FFFD}"/>
          </ac:spMkLst>
        </pc:spChg>
        <pc:spChg chg="add del">
          <ac:chgData name="Daniel Valero" userId="31dd2ff7-9a08-462f-9096-6c487a317220" providerId="ADAL" clId="{13C66EB5-766D-4A69-8EF8-1B215228E3C9}" dt="2020-02-25T16:24:44.403" v="2455"/>
          <ac:spMkLst>
            <pc:docMk/>
            <pc:sldMk cId="508126509" sldId="618"/>
            <ac:spMk id="31" creationId="{0A32E238-3F77-4FEE-9051-7EDB83A27036}"/>
          </ac:spMkLst>
        </pc:spChg>
        <pc:spChg chg="add del">
          <ac:chgData name="Daniel Valero" userId="31dd2ff7-9a08-462f-9096-6c487a317220" providerId="ADAL" clId="{13C66EB5-766D-4A69-8EF8-1B215228E3C9}" dt="2020-02-25T16:24:44.403" v="2455"/>
          <ac:spMkLst>
            <pc:docMk/>
            <pc:sldMk cId="508126509" sldId="618"/>
            <ac:spMk id="32" creationId="{9E246B13-19D8-4317-A8B3-9F8142531DD9}"/>
          </ac:spMkLst>
        </pc:spChg>
        <pc:spChg chg="add del">
          <ac:chgData name="Daniel Valero" userId="31dd2ff7-9a08-462f-9096-6c487a317220" providerId="ADAL" clId="{13C66EB5-766D-4A69-8EF8-1B215228E3C9}" dt="2020-02-25T16:24:44.403" v="2455"/>
          <ac:spMkLst>
            <pc:docMk/>
            <pc:sldMk cId="508126509" sldId="618"/>
            <ac:spMk id="33" creationId="{5F0D7057-9648-4FA8-A871-A08FC4B4C1AC}"/>
          </ac:spMkLst>
        </pc:spChg>
        <pc:spChg chg="add del">
          <ac:chgData name="Daniel Valero" userId="31dd2ff7-9a08-462f-9096-6c487a317220" providerId="ADAL" clId="{13C66EB5-766D-4A69-8EF8-1B215228E3C9}" dt="2020-02-25T16:24:44.403" v="2455"/>
          <ac:spMkLst>
            <pc:docMk/>
            <pc:sldMk cId="508126509" sldId="618"/>
            <ac:spMk id="34" creationId="{CAB22F78-9305-4F09-A8FD-BCB030F904F9}"/>
          </ac:spMkLst>
        </pc:spChg>
        <pc:spChg chg="add del">
          <ac:chgData name="Daniel Valero" userId="31dd2ff7-9a08-462f-9096-6c487a317220" providerId="ADAL" clId="{13C66EB5-766D-4A69-8EF8-1B215228E3C9}" dt="2020-02-25T16:24:44.403" v="2455"/>
          <ac:spMkLst>
            <pc:docMk/>
            <pc:sldMk cId="508126509" sldId="618"/>
            <ac:spMk id="35" creationId="{F21D6984-6676-45E7-9E20-8788EE52D012}"/>
          </ac:spMkLst>
        </pc:spChg>
        <pc:spChg chg="add del">
          <ac:chgData name="Daniel Valero" userId="31dd2ff7-9a08-462f-9096-6c487a317220" providerId="ADAL" clId="{13C66EB5-766D-4A69-8EF8-1B215228E3C9}" dt="2020-02-25T16:24:44.403" v="2455"/>
          <ac:spMkLst>
            <pc:docMk/>
            <pc:sldMk cId="508126509" sldId="618"/>
            <ac:spMk id="36" creationId="{260CC607-C47C-42F6-AC59-0F8D460FA31B}"/>
          </ac:spMkLst>
        </pc:spChg>
        <pc:spChg chg="add del">
          <ac:chgData name="Daniel Valero" userId="31dd2ff7-9a08-462f-9096-6c487a317220" providerId="ADAL" clId="{13C66EB5-766D-4A69-8EF8-1B215228E3C9}" dt="2020-02-25T16:24:44.403" v="2455"/>
          <ac:spMkLst>
            <pc:docMk/>
            <pc:sldMk cId="508126509" sldId="618"/>
            <ac:spMk id="37" creationId="{2B322AEC-78D8-48D5-9BC0-82A59F4D0350}"/>
          </ac:spMkLst>
        </pc:spChg>
        <pc:spChg chg="add del">
          <ac:chgData name="Daniel Valero" userId="31dd2ff7-9a08-462f-9096-6c487a317220" providerId="ADAL" clId="{13C66EB5-766D-4A69-8EF8-1B215228E3C9}" dt="2020-02-25T16:24:44.403" v="2455"/>
          <ac:spMkLst>
            <pc:docMk/>
            <pc:sldMk cId="508126509" sldId="618"/>
            <ac:spMk id="38" creationId="{E8484149-3738-4420-A0E0-2CD7679FB767}"/>
          </ac:spMkLst>
        </pc:spChg>
        <pc:spChg chg="add del">
          <ac:chgData name="Daniel Valero" userId="31dd2ff7-9a08-462f-9096-6c487a317220" providerId="ADAL" clId="{13C66EB5-766D-4A69-8EF8-1B215228E3C9}" dt="2020-02-25T16:24:44.403" v="2455"/>
          <ac:spMkLst>
            <pc:docMk/>
            <pc:sldMk cId="508126509" sldId="618"/>
            <ac:spMk id="39" creationId="{ECEA06E7-25D4-46A6-AD63-523FECA6BAB3}"/>
          </ac:spMkLst>
        </pc:spChg>
        <pc:spChg chg="add del">
          <ac:chgData name="Daniel Valero" userId="31dd2ff7-9a08-462f-9096-6c487a317220" providerId="ADAL" clId="{13C66EB5-766D-4A69-8EF8-1B215228E3C9}" dt="2020-02-25T16:24:44.403" v="2455"/>
          <ac:spMkLst>
            <pc:docMk/>
            <pc:sldMk cId="508126509" sldId="618"/>
            <ac:spMk id="40" creationId="{C280715F-F761-4E4D-ABF6-C4B15FADC4C7}"/>
          </ac:spMkLst>
        </pc:spChg>
        <pc:spChg chg="add del">
          <ac:chgData name="Daniel Valero" userId="31dd2ff7-9a08-462f-9096-6c487a317220" providerId="ADAL" clId="{13C66EB5-766D-4A69-8EF8-1B215228E3C9}" dt="2020-02-25T16:24:44.403" v="2455"/>
          <ac:spMkLst>
            <pc:docMk/>
            <pc:sldMk cId="508126509" sldId="618"/>
            <ac:spMk id="41" creationId="{563EDF93-A9C4-41F1-B604-F8A7B7AF19A8}"/>
          </ac:spMkLst>
        </pc:spChg>
        <pc:spChg chg="add del">
          <ac:chgData name="Daniel Valero" userId="31dd2ff7-9a08-462f-9096-6c487a317220" providerId="ADAL" clId="{13C66EB5-766D-4A69-8EF8-1B215228E3C9}" dt="2020-02-25T16:24:44.403" v="2455"/>
          <ac:spMkLst>
            <pc:docMk/>
            <pc:sldMk cId="508126509" sldId="618"/>
            <ac:spMk id="42" creationId="{F86E2C99-AC52-419C-A5E3-5D7338179FC0}"/>
          </ac:spMkLst>
        </pc:spChg>
        <pc:spChg chg="add mod">
          <ac:chgData name="Daniel Valero" userId="31dd2ff7-9a08-462f-9096-6c487a317220" providerId="ADAL" clId="{13C66EB5-766D-4A69-8EF8-1B215228E3C9}" dt="2020-02-25T17:01:22.789" v="2604" actId="790"/>
          <ac:spMkLst>
            <pc:docMk/>
            <pc:sldMk cId="508126509" sldId="618"/>
            <ac:spMk id="45" creationId="{713C2539-6321-4B50-B6DF-7905494F52A8}"/>
          </ac:spMkLst>
        </pc:spChg>
        <pc:spChg chg="add mod">
          <ac:chgData name="Daniel Valero" userId="31dd2ff7-9a08-462f-9096-6c487a317220" providerId="ADAL" clId="{13C66EB5-766D-4A69-8EF8-1B215228E3C9}" dt="2020-02-25T17:01:22.789" v="2604" actId="790"/>
          <ac:spMkLst>
            <pc:docMk/>
            <pc:sldMk cId="508126509" sldId="618"/>
            <ac:spMk id="48" creationId="{3682B2F3-AEB1-4A66-8D0C-B4BCB23D0C7B}"/>
          </ac:spMkLst>
        </pc:spChg>
        <pc:spChg chg="add mod">
          <ac:chgData name="Daniel Valero" userId="31dd2ff7-9a08-462f-9096-6c487a317220" providerId="ADAL" clId="{13C66EB5-766D-4A69-8EF8-1B215228E3C9}" dt="2020-02-25T17:01:22.789" v="2604" actId="790"/>
          <ac:spMkLst>
            <pc:docMk/>
            <pc:sldMk cId="508126509" sldId="618"/>
            <ac:spMk id="49" creationId="{BE91BDAD-9E00-46E3-81D6-547C19D238C5}"/>
          </ac:spMkLst>
        </pc:spChg>
        <pc:spChg chg="add mod">
          <ac:chgData name="Daniel Valero" userId="31dd2ff7-9a08-462f-9096-6c487a317220" providerId="ADAL" clId="{13C66EB5-766D-4A69-8EF8-1B215228E3C9}" dt="2020-02-25T17:01:22.789" v="2604" actId="790"/>
          <ac:spMkLst>
            <pc:docMk/>
            <pc:sldMk cId="508126509" sldId="618"/>
            <ac:spMk id="50" creationId="{960B5702-E38C-4C67-91F9-CB62DE0CE17A}"/>
          </ac:spMkLst>
        </pc:spChg>
        <pc:spChg chg="add mod">
          <ac:chgData name="Daniel Valero" userId="31dd2ff7-9a08-462f-9096-6c487a317220" providerId="ADAL" clId="{13C66EB5-766D-4A69-8EF8-1B215228E3C9}" dt="2020-02-25T17:01:22.789" v="2604" actId="790"/>
          <ac:spMkLst>
            <pc:docMk/>
            <pc:sldMk cId="508126509" sldId="618"/>
            <ac:spMk id="51" creationId="{844FF21F-9290-4A02-B225-5D06B1706572}"/>
          </ac:spMkLst>
        </pc:spChg>
        <pc:spChg chg="add mod">
          <ac:chgData name="Daniel Valero" userId="31dd2ff7-9a08-462f-9096-6c487a317220" providerId="ADAL" clId="{13C66EB5-766D-4A69-8EF8-1B215228E3C9}" dt="2020-02-25T17:01:22.789" v="2604" actId="790"/>
          <ac:spMkLst>
            <pc:docMk/>
            <pc:sldMk cId="508126509" sldId="618"/>
            <ac:spMk id="52" creationId="{43F1A2B2-1BCC-4944-99E9-01F2244FDF91}"/>
          </ac:spMkLst>
        </pc:spChg>
        <pc:spChg chg="add mod">
          <ac:chgData name="Daniel Valero" userId="31dd2ff7-9a08-462f-9096-6c487a317220" providerId="ADAL" clId="{13C66EB5-766D-4A69-8EF8-1B215228E3C9}" dt="2020-02-25T17:01:22.789" v="2604" actId="790"/>
          <ac:spMkLst>
            <pc:docMk/>
            <pc:sldMk cId="508126509" sldId="618"/>
            <ac:spMk id="53" creationId="{3403C397-13DE-4B9D-BE89-13492AF2100A}"/>
          </ac:spMkLst>
        </pc:spChg>
        <pc:spChg chg="add mod">
          <ac:chgData name="Daniel Valero" userId="31dd2ff7-9a08-462f-9096-6c487a317220" providerId="ADAL" clId="{13C66EB5-766D-4A69-8EF8-1B215228E3C9}" dt="2020-02-25T17:01:22.789" v="2604" actId="790"/>
          <ac:spMkLst>
            <pc:docMk/>
            <pc:sldMk cId="508126509" sldId="618"/>
            <ac:spMk id="54" creationId="{4E009345-05D5-47BA-8C16-8F2D9144DAAE}"/>
          </ac:spMkLst>
        </pc:spChg>
        <pc:spChg chg="add mod">
          <ac:chgData name="Daniel Valero" userId="31dd2ff7-9a08-462f-9096-6c487a317220" providerId="ADAL" clId="{13C66EB5-766D-4A69-8EF8-1B215228E3C9}" dt="2020-02-25T17:01:22.789" v="2604" actId="790"/>
          <ac:spMkLst>
            <pc:docMk/>
            <pc:sldMk cId="508126509" sldId="618"/>
            <ac:spMk id="55" creationId="{7A1C08B5-8F85-46B6-9F38-0D8F93C65596}"/>
          </ac:spMkLst>
        </pc:spChg>
        <pc:spChg chg="add mod">
          <ac:chgData name="Daniel Valero" userId="31dd2ff7-9a08-462f-9096-6c487a317220" providerId="ADAL" clId="{13C66EB5-766D-4A69-8EF8-1B215228E3C9}" dt="2020-02-25T17:01:22.789" v="2604" actId="790"/>
          <ac:spMkLst>
            <pc:docMk/>
            <pc:sldMk cId="508126509" sldId="618"/>
            <ac:spMk id="56" creationId="{3E742FCE-A3FD-4E63-A3F5-0B488925102C}"/>
          </ac:spMkLst>
        </pc:spChg>
        <pc:spChg chg="add mod">
          <ac:chgData name="Daniel Valero" userId="31dd2ff7-9a08-462f-9096-6c487a317220" providerId="ADAL" clId="{13C66EB5-766D-4A69-8EF8-1B215228E3C9}" dt="2020-02-25T17:01:22.789" v="2604" actId="790"/>
          <ac:spMkLst>
            <pc:docMk/>
            <pc:sldMk cId="508126509" sldId="618"/>
            <ac:spMk id="57" creationId="{1BEBD550-8228-458D-8D48-A68DF2E2C6E2}"/>
          </ac:spMkLst>
        </pc:spChg>
        <pc:spChg chg="add mod">
          <ac:chgData name="Daniel Valero" userId="31dd2ff7-9a08-462f-9096-6c487a317220" providerId="ADAL" clId="{13C66EB5-766D-4A69-8EF8-1B215228E3C9}" dt="2020-02-25T17:01:22.789" v="2604" actId="790"/>
          <ac:spMkLst>
            <pc:docMk/>
            <pc:sldMk cId="508126509" sldId="618"/>
            <ac:spMk id="58" creationId="{265477B7-89C5-4BD8-AB9C-AB555B57D6D7}"/>
          </ac:spMkLst>
        </pc:spChg>
        <pc:spChg chg="add mod">
          <ac:chgData name="Daniel Valero" userId="31dd2ff7-9a08-462f-9096-6c487a317220" providerId="ADAL" clId="{13C66EB5-766D-4A69-8EF8-1B215228E3C9}" dt="2020-02-25T17:01:22.789" v="2604" actId="790"/>
          <ac:spMkLst>
            <pc:docMk/>
            <pc:sldMk cId="508126509" sldId="618"/>
            <ac:spMk id="59" creationId="{CB59F8C6-0F40-4F3D-880C-205EB5454517}"/>
          </ac:spMkLst>
        </pc:spChg>
        <pc:spChg chg="add mod">
          <ac:chgData name="Daniel Valero" userId="31dd2ff7-9a08-462f-9096-6c487a317220" providerId="ADAL" clId="{13C66EB5-766D-4A69-8EF8-1B215228E3C9}" dt="2020-02-25T17:01:22.789" v="2604" actId="790"/>
          <ac:spMkLst>
            <pc:docMk/>
            <pc:sldMk cId="508126509" sldId="618"/>
            <ac:spMk id="60" creationId="{9B6A7B81-CD87-47D1-9723-F5106ADE7681}"/>
          </ac:spMkLst>
        </pc:spChg>
        <pc:spChg chg="add mod">
          <ac:chgData name="Daniel Valero" userId="31dd2ff7-9a08-462f-9096-6c487a317220" providerId="ADAL" clId="{13C66EB5-766D-4A69-8EF8-1B215228E3C9}" dt="2020-02-25T17:01:22.789" v="2604" actId="790"/>
          <ac:spMkLst>
            <pc:docMk/>
            <pc:sldMk cId="508126509" sldId="618"/>
            <ac:spMk id="61" creationId="{4774679D-07B2-4D75-BADC-7D551AF04247}"/>
          </ac:spMkLst>
        </pc:spChg>
        <pc:spChg chg="add mod">
          <ac:chgData name="Daniel Valero" userId="31dd2ff7-9a08-462f-9096-6c487a317220" providerId="ADAL" clId="{13C66EB5-766D-4A69-8EF8-1B215228E3C9}" dt="2020-02-25T17:01:22.789" v="2604" actId="790"/>
          <ac:spMkLst>
            <pc:docMk/>
            <pc:sldMk cId="508126509" sldId="618"/>
            <ac:spMk id="62" creationId="{AC83966A-B276-4AE8-95F9-3AD4130F84E8}"/>
          </ac:spMkLst>
        </pc:spChg>
        <pc:spChg chg="add mod">
          <ac:chgData name="Daniel Valero" userId="31dd2ff7-9a08-462f-9096-6c487a317220" providerId="ADAL" clId="{13C66EB5-766D-4A69-8EF8-1B215228E3C9}" dt="2020-02-25T17:01:22.789" v="2604" actId="790"/>
          <ac:spMkLst>
            <pc:docMk/>
            <pc:sldMk cId="508126509" sldId="618"/>
            <ac:spMk id="63" creationId="{E733ADE8-00C8-4F4A-97C6-584F2E02292A}"/>
          </ac:spMkLst>
        </pc:spChg>
        <pc:spChg chg="add mod">
          <ac:chgData name="Daniel Valero" userId="31dd2ff7-9a08-462f-9096-6c487a317220" providerId="ADAL" clId="{13C66EB5-766D-4A69-8EF8-1B215228E3C9}" dt="2020-02-25T17:01:22.789" v="2604" actId="790"/>
          <ac:spMkLst>
            <pc:docMk/>
            <pc:sldMk cId="508126509" sldId="618"/>
            <ac:spMk id="64" creationId="{9BCB9B6A-EDFC-4144-9589-6534D2675055}"/>
          </ac:spMkLst>
        </pc:spChg>
        <pc:spChg chg="add mod">
          <ac:chgData name="Daniel Valero" userId="31dd2ff7-9a08-462f-9096-6c487a317220" providerId="ADAL" clId="{13C66EB5-766D-4A69-8EF8-1B215228E3C9}" dt="2020-02-25T17:01:22.789" v="2604" actId="790"/>
          <ac:spMkLst>
            <pc:docMk/>
            <pc:sldMk cId="508126509" sldId="618"/>
            <ac:spMk id="65" creationId="{5DFEAFD2-8E0B-4252-A3F0-ACC97CB145E6}"/>
          </ac:spMkLst>
        </pc:spChg>
        <pc:spChg chg="add mod">
          <ac:chgData name="Daniel Valero" userId="31dd2ff7-9a08-462f-9096-6c487a317220" providerId="ADAL" clId="{13C66EB5-766D-4A69-8EF8-1B215228E3C9}" dt="2020-02-25T17:01:22.789" v="2604" actId="790"/>
          <ac:spMkLst>
            <pc:docMk/>
            <pc:sldMk cId="508126509" sldId="618"/>
            <ac:spMk id="66" creationId="{B99775AE-9318-4C07-B75D-8142D0524C45}"/>
          </ac:spMkLst>
        </pc:spChg>
        <pc:spChg chg="add mod">
          <ac:chgData name="Daniel Valero" userId="31dd2ff7-9a08-462f-9096-6c487a317220" providerId="ADAL" clId="{13C66EB5-766D-4A69-8EF8-1B215228E3C9}" dt="2020-02-25T17:01:22.789" v="2604" actId="790"/>
          <ac:spMkLst>
            <pc:docMk/>
            <pc:sldMk cId="508126509" sldId="618"/>
            <ac:spMk id="77" creationId="{218170EA-FC49-4B9F-9D24-57ECE5E5BE05}"/>
          </ac:spMkLst>
        </pc:spChg>
        <pc:spChg chg="add mod">
          <ac:chgData name="Daniel Valero" userId="31dd2ff7-9a08-462f-9096-6c487a317220" providerId="ADAL" clId="{13C66EB5-766D-4A69-8EF8-1B215228E3C9}" dt="2020-02-25T17:01:22.789" v="2604" actId="790"/>
          <ac:spMkLst>
            <pc:docMk/>
            <pc:sldMk cId="508126509" sldId="618"/>
            <ac:spMk id="79" creationId="{5DAF4622-1D1F-4D18-B568-986EE844BCDF}"/>
          </ac:spMkLst>
        </pc:spChg>
        <pc:grpChg chg="add mod">
          <ac:chgData name="Daniel Valero" userId="31dd2ff7-9a08-462f-9096-6c487a317220" providerId="ADAL" clId="{13C66EB5-766D-4A69-8EF8-1B215228E3C9}" dt="2020-02-25T16:58:56.373" v="2534" actId="164"/>
          <ac:grpSpMkLst>
            <pc:docMk/>
            <pc:sldMk cId="508126509" sldId="618"/>
            <ac:grpSpMk id="70" creationId="{60B68641-40BF-42BE-BE09-BE510B978997}"/>
          </ac:grpSpMkLst>
        </pc:grpChg>
        <pc:grpChg chg="add mod">
          <ac:chgData name="Daniel Valero" userId="31dd2ff7-9a08-462f-9096-6c487a317220" providerId="ADAL" clId="{13C66EB5-766D-4A69-8EF8-1B215228E3C9}" dt="2020-02-25T16:58:56.373" v="2534" actId="164"/>
          <ac:grpSpMkLst>
            <pc:docMk/>
            <pc:sldMk cId="508126509" sldId="618"/>
            <ac:grpSpMk id="71" creationId="{BAD4FF2D-3DF1-45F9-9F9A-37360A932964}"/>
          </ac:grpSpMkLst>
        </pc:grpChg>
        <pc:grpChg chg="add mod">
          <ac:chgData name="Daniel Valero" userId="31dd2ff7-9a08-462f-9096-6c487a317220" providerId="ADAL" clId="{13C66EB5-766D-4A69-8EF8-1B215228E3C9}" dt="2020-02-25T16:58:56.373" v="2534" actId="164"/>
          <ac:grpSpMkLst>
            <pc:docMk/>
            <pc:sldMk cId="508126509" sldId="618"/>
            <ac:grpSpMk id="72" creationId="{3AC898B8-89C4-4B77-B382-C0B0CC436AF2}"/>
          </ac:grpSpMkLst>
        </pc:grpChg>
        <pc:grpChg chg="add mod">
          <ac:chgData name="Daniel Valero" userId="31dd2ff7-9a08-462f-9096-6c487a317220" providerId="ADAL" clId="{13C66EB5-766D-4A69-8EF8-1B215228E3C9}" dt="2020-02-25T16:58:56.373" v="2534" actId="164"/>
          <ac:grpSpMkLst>
            <pc:docMk/>
            <pc:sldMk cId="508126509" sldId="618"/>
            <ac:grpSpMk id="73" creationId="{997983ED-F273-4B12-8BD9-D94635F57F61}"/>
          </ac:grpSpMkLst>
        </pc:grpChg>
        <pc:grpChg chg="add mod">
          <ac:chgData name="Daniel Valero" userId="31dd2ff7-9a08-462f-9096-6c487a317220" providerId="ADAL" clId="{13C66EB5-766D-4A69-8EF8-1B215228E3C9}" dt="2020-02-25T16:58:56.373" v="2534" actId="164"/>
          <ac:grpSpMkLst>
            <pc:docMk/>
            <pc:sldMk cId="508126509" sldId="618"/>
            <ac:grpSpMk id="74" creationId="{69DF7063-04A2-4E40-B7B7-9297BF8B3542}"/>
          </ac:grpSpMkLst>
        </pc:grpChg>
        <pc:grpChg chg="add mod ord">
          <ac:chgData name="Daniel Valero" userId="31dd2ff7-9a08-462f-9096-6c487a317220" providerId="ADAL" clId="{13C66EB5-766D-4A69-8EF8-1B215228E3C9}" dt="2020-02-25T16:59:13.406" v="2538" actId="167"/>
          <ac:grpSpMkLst>
            <pc:docMk/>
            <pc:sldMk cId="508126509" sldId="618"/>
            <ac:grpSpMk id="75" creationId="{2E46A7FA-819E-4EDF-918B-CCA0CD78F49E}"/>
          </ac:grpSpMkLst>
        </pc:grpChg>
        <pc:picChg chg="del">
          <ac:chgData name="Daniel Valero" userId="31dd2ff7-9a08-462f-9096-6c487a317220" providerId="ADAL" clId="{13C66EB5-766D-4A69-8EF8-1B215228E3C9}" dt="2020-02-25T16:22:06.474" v="2429" actId="478"/>
          <ac:picMkLst>
            <pc:docMk/>
            <pc:sldMk cId="508126509" sldId="618"/>
            <ac:picMk id="16" creationId="{A1948D66-D986-4C41-85D0-B9783B322996}"/>
          </ac:picMkLst>
        </pc:picChg>
        <pc:picChg chg="del">
          <ac:chgData name="Daniel Valero" userId="31dd2ff7-9a08-462f-9096-6c487a317220" providerId="ADAL" clId="{13C66EB5-766D-4A69-8EF8-1B215228E3C9}" dt="2020-02-25T16:22:08.560" v="2433" actId="478"/>
          <ac:picMkLst>
            <pc:docMk/>
            <pc:sldMk cId="508126509" sldId="618"/>
            <ac:picMk id="18" creationId="{A2EC7757-0C8A-49E7-A6DB-A49E4C791CFD}"/>
          </ac:picMkLst>
        </pc:picChg>
        <pc:cxnChg chg="add del">
          <ac:chgData name="Daniel Valero" userId="31dd2ff7-9a08-462f-9096-6c487a317220" providerId="ADAL" clId="{13C66EB5-766D-4A69-8EF8-1B215228E3C9}" dt="2020-02-25T16:24:44.403" v="2455"/>
          <ac:cxnSpMkLst>
            <pc:docMk/>
            <pc:sldMk cId="508126509" sldId="618"/>
            <ac:cxnSpMk id="13" creationId="{94C30034-46ED-4160-A5A6-C82A3AD7D7BF}"/>
          </ac:cxnSpMkLst>
        </pc:cxnChg>
        <pc:cxnChg chg="add del">
          <ac:chgData name="Daniel Valero" userId="31dd2ff7-9a08-462f-9096-6c487a317220" providerId="ADAL" clId="{13C66EB5-766D-4A69-8EF8-1B215228E3C9}" dt="2020-02-25T16:24:44.403" v="2455"/>
          <ac:cxnSpMkLst>
            <pc:docMk/>
            <pc:sldMk cId="508126509" sldId="618"/>
            <ac:cxnSpMk id="14" creationId="{7D447E76-09A2-4457-A737-30203856CB60}"/>
          </ac:cxnSpMkLst>
        </pc:cxnChg>
        <pc:cxnChg chg="add del">
          <ac:chgData name="Daniel Valero" userId="31dd2ff7-9a08-462f-9096-6c487a317220" providerId="ADAL" clId="{13C66EB5-766D-4A69-8EF8-1B215228E3C9}" dt="2020-02-25T16:24:44.403" v="2455"/>
          <ac:cxnSpMkLst>
            <pc:docMk/>
            <pc:sldMk cId="508126509" sldId="618"/>
            <ac:cxnSpMk id="22" creationId="{983C73A9-4D6A-419E-8AB5-32173E27F47C}"/>
          </ac:cxnSpMkLst>
        </pc:cxnChg>
        <pc:cxnChg chg="add del">
          <ac:chgData name="Daniel Valero" userId="31dd2ff7-9a08-462f-9096-6c487a317220" providerId="ADAL" clId="{13C66EB5-766D-4A69-8EF8-1B215228E3C9}" dt="2020-02-25T16:24:44.403" v="2455"/>
          <ac:cxnSpMkLst>
            <pc:docMk/>
            <pc:sldMk cId="508126509" sldId="618"/>
            <ac:cxnSpMk id="23" creationId="{9A327BEA-F819-4C87-BB04-8D2403A1E80A}"/>
          </ac:cxnSpMkLst>
        </pc:cxnChg>
        <pc:cxnChg chg="add mod">
          <ac:chgData name="Daniel Valero" userId="31dd2ff7-9a08-462f-9096-6c487a317220" providerId="ADAL" clId="{13C66EB5-766D-4A69-8EF8-1B215228E3C9}" dt="2020-02-25T16:58:56.373" v="2534" actId="164"/>
          <ac:cxnSpMkLst>
            <pc:docMk/>
            <pc:sldMk cId="508126509" sldId="618"/>
            <ac:cxnSpMk id="43" creationId="{070D6CE5-4F9E-44BC-A783-DFBBF89D3934}"/>
          </ac:cxnSpMkLst>
        </pc:cxnChg>
        <pc:cxnChg chg="add mod">
          <ac:chgData name="Daniel Valero" userId="31dd2ff7-9a08-462f-9096-6c487a317220" providerId="ADAL" clId="{13C66EB5-766D-4A69-8EF8-1B215228E3C9}" dt="2020-02-25T16:58:56.373" v="2534" actId="164"/>
          <ac:cxnSpMkLst>
            <pc:docMk/>
            <pc:sldMk cId="508126509" sldId="618"/>
            <ac:cxnSpMk id="44" creationId="{213134DF-3638-47D1-8CEC-0196AC8C346E}"/>
          </ac:cxnSpMkLst>
        </pc:cxnChg>
        <pc:cxnChg chg="add mod">
          <ac:chgData name="Daniel Valero" userId="31dd2ff7-9a08-462f-9096-6c487a317220" providerId="ADAL" clId="{13C66EB5-766D-4A69-8EF8-1B215228E3C9}" dt="2020-02-25T16:58:56.373" v="2534" actId="164"/>
          <ac:cxnSpMkLst>
            <pc:docMk/>
            <pc:sldMk cId="508126509" sldId="618"/>
            <ac:cxnSpMk id="46" creationId="{54547778-B203-4895-A55B-45AE5AF61174}"/>
          </ac:cxnSpMkLst>
        </pc:cxnChg>
        <pc:cxnChg chg="add mod">
          <ac:chgData name="Daniel Valero" userId="31dd2ff7-9a08-462f-9096-6c487a317220" providerId="ADAL" clId="{13C66EB5-766D-4A69-8EF8-1B215228E3C9}" dt="2020-02-25T16:58:56.373" v="2534" actId="164"/>
          <ac:cxnSpMkLst>
            <pc:docMk/>
            <pc:sldMk cId="508126509" sldId="618"/>
            <ac:cxnSpMk id="47" creationId="{23951D6D-28E7-4942-BEB1-95CB920EBD65}"/>
          </ac:cxnSpMkLst>
        </pc:cxnChg>
      </pc:sldChg>
      <pc:sldChg chg="addSp delSp modSp add mod modNotesTx">
        <pc:chgData name="Daniel Valero" userId="31dd2ff7-9a08-462f-9096-6c487a317220" providerId="ADAL" clId="{13C66EB5-766D-4A69-8EF8-1B215228E3C9}" dt="2020-02-25T17:28:13.290" v="2674" actId="6549"/>
        <pc:sldMkLst>
          <pc:docMk/>
          <pc:sldMk cId="2202142392" sldId="619"/>
        </pc:sldMkLst>
        <pc:spChg chg="mod">
          <ac:chgData name="Daniel Valero" userId="31dd2ff7-9a08-462f-9096-6c487a317220" providerId="ADAL" clId="{13C66EB5-766D-4A69-8EF8-1B215228E3C9}" dt="2020-02-25T17:27:50.865" v="2663" actId="20577"/>
          <ac:spMkLst>
            <pc:docMk/>
            <pc:sldMk cId="2202142392" sldId="619"/>
            <ac:spMk id="3" creationId="{F35E8CBB-5A7D-4DEF-BAF7-8DD5D042F9E0}"/>
          </ac:spMkLst>
        </pc:spChg>
        <pc:spChg chg="add del mod">
          <ac:chgData name="Daniel Valero" userId="31dd2ff7-9a08-462f-9096-6c487a317220" providerId="ADAL" clId="{13C66EB5-766D-4A69-8EF8-1B215228E3C9}" dt="2020-02-25T17:26:49.634" v="2631" actId="478"/>
          <ac:spMkLst>
            <pc:docMk/>
            <pc:sldMk cId="2202142392" sldId="619"/>
            <ac:spMk id="5" creationId="{9D81BF84-EF6A-43FC-A4FF-DE66259DA239}"/>
          </ac:spMkLst>
        </pc:spChg>
        <pc:spChg chg="del">
          <ac:chgData name="Daniel Valero" userId="31dd2ff7-9a08-462f-9096-6c487a317220" providerId="ADAL" clId="{13C66EB5-766D-4A69-8EF8-1B215228E3C9}" dt="2020-02-25T17:26:48.201" v="2630" actId="478"/>
          <ac:spMkLst>
            <pc:docMk/>
            <pc:sldMk cId="2202142392" sldId="619"/>
            <ac:spMk id="7" creationId="{969F47C3-47A1-4C6F-B6B9-4429DB141C5C}"/>
          </ac:spMkLst>
        </pc:spChg>
        <pc:spChg chg="mod">
          <ac:chgData name="Daniel Valero" userId="31dd2ff7-9a08-462f-9096-6c487a317220" providerId="ADAL" clId="{13C66EB5-766D-4A69-8EF8-1B215228E3C9}" dt="2020-02-25T17:27:16.735" v="2637" actId="14100"/>
          <ac:spMkLst>
            <pc:docMk/>
            <pc:sldMk cId="2202142392" sldId="619"/>
            <ac:spMk id="15" creationId="{CBD25A02-82B9-4340-974E-89834E9AE4EE}"/>
          </ac:spMkLst>
        </pc:spChg>
        <pc:spChg chg="mod">
          <ac:chgData name="Daniel Valero" userId="31dd2ff7-9a08-462f-9096-6c487a317220" providerId="ADAL" clId="{13C66EB5-766D-4A69-8EF8-1B215228E3C9}" dt="2020-02-25T17:27:29.264" v="2640" actId="1076"/>
          <ac:spMkLst>
            <pc:docMk/>
            <pc:sldMk cId="2202142392" sldId="619"/>
            <ac:spMk id="17" creationId="{489A0049-7F01-401B-A0F6-55017244DB74}"/>
          </ac:spMkLst>
        </pc:spChg>
        <pc:spChg chg="mod">
          <ac:chgData name="Daniel Valero" userId="31dd2ff7-9a08-462f-9096-6c487a317220" providerId="ADAL" clId="{13C66EB5-766D-4A69-8EF8-1B215228E3C9}" dt="2020-02-25T17:27:45.178" v="2645" actId="1076"/>
          <ac:spMkLst>
            <pc:docMk/>
            <pc:sldMk cId="2202142392" sldId="619"/>
            <ac:spMk id="19" creationId="{3F8B4484-A5F3-44A6-93FE-1457242A64FE}"/>
          </ac:spMkLst>
        </pc:spChg>
        <pc:spChg chg="mod">
          <ac:chgData name="Daniel Valero" userId="31dd2ff7-9a08-462f-9096-6c487a317220" providerId="ADAL" clId="{13C66EB5-766D-4A69-8EF8-1B215228E3C9}" dt="2020-02-25T17:27:41.946" v="2644" actId="1076"/>
          <ac:spMkLst>
            <pc:docMk/>
            <pc:sldMk cId="2202142392" sldId="619"/>
            <ac:spMk id="20" creationId="{B31FF57A-BE28-4845-A959-442C74317B08}"/>
          </ac:spMkLst>
        </pc:spChg>
        <pc:picChg chg="mod">
          <ac:chgData name="Daniel Valero" userId="31dd2ff7-9a08-462f-9096-6c487a317220" providerId="ADAL" clId="{13C66EB5-766D-4A69-8EF8-1B215228E3C9}" dt="2020-02-25T17:27:31.408" v="2641" actId="1076"/>
          <ac:picMkLst>
            <pc:docMk/>
            <pc:sldMk cId="2202142392" sldId="619"/>
            <ac:picMk id="16" creationId="{A1948D66-D986-4C41-85D0-B9783B322996}"/>
          </ac:picMkLst>
        </pc:picChg>
      </pc:sldChg>
      <pc:sldChg chg="modSp add mod modNotesTx">
        <pc:chgData name="Daniel Valero" userId="31dd2ff7-9a08-462f-9096-6c487a317220" providerId="ADAL" clId="{13C66EB5-766D-4A69-8EF8-1B215228E3C9}" dt="2020-02-25T17:39:43.259" v="3066" actId="20577"/>
        <pc:sldMkLst>
          <pc:docMk/>
          <pc:sldMk cId="4286818092" sldId="620"/>
        </pc:sldMkLst>
        <pc:spChg chg="mod">
          <ac:chgData name="Daniel Valero" userId="31dd2ff7-9a08-462f-9096-6c487a317220" providerId="ADAL" clId="{13C66EB5-766D-4A69-8EF8-1B215228E3C9}" dt="2020-02-25T17:32:02.927" v="2750" actId="20577"/>
          <ac:spMkLst>
            <pc:docMk/>
            <pc:sldMk cId="4286818092" sldId="620"/>
            <ac:spMk id="3" creationId="{F35E8CBB-5A7D-4DEF-BAF7-8DD5D042F9E0}"/>
          </ac:spMkLst>
        </pc:spChg>
        <pc:spChg chg="mod">
          <ac:chgData name="Daniel Valero" userId="31dd2ff7-9a08-462f-9096-6c487a317220" providerId="ADAL" clId="{13C66EB5-766D-4A69-8EF8-1B215228E3C9}" dt="2020-02-25T17:39:43.259" v="3066" actId="20577"/>
          <ac:spMkLst>
            <pc:docMk/>
            <pc:sldMk cId="4286818092" sldId="620"/>
            <ac:spMk id="24" creationId="{DE034EBD-3180-49C9-A72B-7FFAE4FCF0FA}"/>
          </ac:spMkLst>
        </pc:spChg>
      </pc:sldChg>
      <pc:sldChg chg="addSp delSp modSp add mod">
        <pc:chgData name="Daniel Valero" userId="31dd2ff7-9a08-462f-9096-6c487a317220" providerId="ADAL" clId="{13C66EB5-766D-4A69-8EF8-1B215228E3C9}" dt="2020-02-25T18:16:07.545" v="4060" actId="20577"/>
        <pc:sldMkLst>
          <pc:docMk/>
          <pc:sldMk cId="1030677442" sldId="621"/>
        </pc:sldMkLst>
        <pc:spChg chg="mod">
          <ac:chgData name="Daniel Valero" userId="31dd2ff7-9a08-462f-9096-6c487a317220" providerId="ADAL" clId="{13C66EB5-766D-4A69-8EF8-1B215228E3C9}" dt="2020-02-25T18:03:35.411" v="3604" actId="790"/>
          <ac:spMkLst>
            <pc:docMk/>
            <pc:sldMk cId="1030677442" sldId="621"/>
            <ac:spMk id="2" creationId="{EB67312A-9819-43C6-8D84-D9136E6CFFCC}"/>
          </ac:spMkLst>
        </pc:spChg>
        <pc:spChg chg="mod">
          <ac:chgData name="Daniel Valero" userId="31dd2ff7-9a08-462f-9096-6c487a317220" providerId="ADAL" clId="{13C66EB5-766D-4A69-8EF8-1B215228E3C9}" dt="2020-02-25T18:14:23.302" v="3878" actId="20577"/>
          <ac:spMkLst>
            <pc:docMk/>
            <pc:sldMk cId="1030677442" sldId="621"/>
            <ac:spMk id="3" creationId="{F35E8CBB-5A7D-4DEF-BAF7-8DD5D042F9E0}"/>
          </ac:spMkLst>
        </pc:spChg>
        <pc:spChg chg="add mod">
          <ac:chgData name="Daniel Valero" userId="31dd2ff7-9a08-462f-9096-6c487a317220" providerId="ADAL" clId="{13C66EB5-766D-4A69-8EF8-1B215228E3C9}" dt="2020-02-25T18:14:14.176" v="3863" actId="33524"/>
          <ac:spMkLst>
            <pc:docMk/>
            <pc:sldMk cId="1030677442" sldId="621"/>
            <ac:spMk id="6" creationId="{70F92798-54C4-42CE-9509-349D1E88B39C}"/>
          </ac:spMkLst>
        </pc:spChg>
        <pc:graphicFrameChg chg="del modGraphic">
          <ac:chgData name="Daniel Valero" userId="31dd2ff7-9a08-462f-9096-6c487a317220" providerId="ADAL" clId="{13C66EB5-766D-4A69-8EF8-1B215228E3C9}" dt="2020-02-25T18:06:00.652" v="3607" actId="478"/>
          <ac:graphicFrameMkLst>
            <pc:docMk/>
            <pc:sldMk cId="1030677442" sldId="621"/>
            <ac:graphicFrameMk id="5" creationId="{8F820CDF-BD1D-4AD1-BE1D-7130A022C764}"/>
          </ac:graphicFrameMkLst>
        </pc:graphicFrameChg>
        <pc:graphicFrameChg chg="add mod modGraphic">
          <ac:chgData name="Daniel Valero" userId="31dd2ff7-9a08-462f-9096-6c487a317220" providerId="ADAL" clId="{13C66EB5-766D-4A69-8EF8-1B215228E3C9}" dt="2020-02-25T18:16:07.545" v="4060" actId="20577"/>
          <ac:graphicFrameMkLst>
            <pc:docMk/>
            <pc:sldMk cId="1030677442" sldId="621"/>
            <ac:graphicFrameMk id="7" creationId="{8054562B-EDA4-4A5F-95DF-6B68DF7EFF40}"/>
          </ac:graphicFrameMkLst>
        </pc:graphicFrameChg>
      </pc:sldChg>
      <pc:sldChg chg="add">
        <pc:chgData name="Daniel Valero" userId="31dd2ff7-9a08-462f-9096-6c487a317220" providerId="ADAL" clId="{13C66EB5-766D-4A69-8EF8-1B215228E3C9}" dt="2020-02-25T18:31:49.832" v="4140"/>
        <pc:sldMkLst>
          <pc:docMk/>
          <pc:sldMk cId="3727622838" sldId="622"/>
        </pc:sldMkLst>
      </pc:sldChg>
      <pc:sldChg chg="addSp delSp modSp add mod delAnim modNotesTx">
        <pc:chgData name="Daniel Valero" userId="31dd2ff7-9a08-462f-9096-6c487a317220" providerId="ADAL" clId="{13C66EB5-766D-4A69-8EF8-1B215228E3C9}" dt="2020-02-25T19:08:46.406" v="4922" actId="20577"/>
        <pc:sldMkLst>
          <pc:docMk/>
          <pc:sldMk cId="3363990098" sldId="623"/>
        </pc:sldMkLst>
        <pc:spChg chg="mod">
          <ac:chgData name="Daniel Valero" userId="31dd2ff7-9a08-462f-9096-6c487a317220" providerId="ADAL" clId="{13C66EB5-766D-4A69-8EF8-1B215228E3C9}" dt="2020-02-25T19:08:46.406" v="4922" actId="20577"/>
          <ac:spMkLst>
            <pc:docMk/>
            <pc:sldMk cId="3363990098" sldId="623"/>
            <ac:spMk id="2" creationId="{EB67312A-9819-43C6-8D84-D9136E6CFFCC}"/>
          </ac:spMkLst>
        </pc:spChg>
        <pc:spChg chg="mod">
          <ac:chgData name="Daniel Valero" userId="31dd2ff7-9a08-462f-9096-6c487a317220" providerId="ADAL" clId="{13C66EB5-766D-4A69-8EF8-1B215228E3C9}" dt="2020-02-25T19:06:40.021" v="4868" actId="20577"/>
          <ac:spMkLst>
            <pc:docMk/>
            <pc:sldMk cId="3363990098" sldId="623"/>
            <ac:spMk id="3" creationId="{F35E8CBB-5A7D-4DEF-BAF7-8DD5D042F9E0}"/>
          </ac:spMkLst>
        </pc:spChg>
        <pc:spChg chg="del">
          <ac:chgData name="Daniel Valero" userId="31dd2ff7-9a08-462f-9096-6c487a317220" providerId="ADAL" clId="{13C66EB5-766D-4A69-8EF8-1B215228E3C9}" dt="2020-02-25T19:01:49.968" v="4715" actId="478"/>
          <ac:spMkLst>
            <pc:docMk/>
            <pc:sldMk cId="3363990098" sldId="623"/>
            <ac:spMk id="5" creationId="{7FE2D393-5B11-4ED9-A753-3242CAC2B5B2}"/>
          </ac:spMkLst>
        </pc:spChg>
        <pc:spChg chg="del">
          <ac:chgData name="Daniel Valero" userId="31dd2ff7-9a08-462f-9096-6c487a317220" providerId="ADAL" clId="{13C66EB5-766D-4A69-8EF8-1B215228E3C9}" dt="2020-02-25T19:01:49.968" v="4715" actId="478"/>
          <ac:spMkLst>
            <pc:docMk/>
            <pc:sldMk cId="3363990098" sldId="623"/>
            <ac:spMk id="7" creationId="{439CE905-1E40-4DF4-AAB7-B4708DE39F71}"/>
          </ac:spMkLst>
        </pc:spChg>
        <pc:spChg chg="del">
          <ac:chgData name="Daniel Valero" userId="31dd2ff7-9a08-462f-9096-6c487a317220" providerId="ADAL" clId="{13C66EB5-766D-4A69-8EF8-1B215228E3C9}" dt="2020-02-25T19:01:49.968" v="4715" actId="478"/>
          <ac:spMkLst>
            <pc:docMk/>
            <pc:sldMk cId="3363990098" sldId="623"/>
            <ac:spMk id="8" creationId="{9642542A-325A-444C-943B-6EBAEF3A41AC}"/>
          </ac:spMkLst>
        </pc:spChg>
        <pc:spChg chg="del">
          <ac:chgData name="Daniel Valero" userId="31dd2ff7-9a08-462f-9096-6c487a317220" providerId="ADAL" clId="{13C66EB5-766D-4A69-8EF8-1B215228E3C9}" dt="2020-02-25T19:01:49.968" v="4715" actId="478"/>
          <ac:spMkLst>
            <pc:docMk/>
            <pc:sldMk cId="3363990098" sldId="623"/>
            <ac:spMk id="10" creationId="{62D72855-10C5-44D0-9958-4F6E50B4ADA5}"/>
          </ac:spMkLst>
        </pc:spChg>
        <pc:spChg chg="del">
          <ac:chgData name="Daniel Valero" userId="31dd2ff7-9a08-462f-9096-6c487a317220" providerId="ADAL" clId="{13C66EB5-766D-4A69-8EF8-1B215228E3C9}" dt="2020-02-25T19:01:49.968" v="4715" actId="478"/>
          <ac:spMkLst>
            <pc:docMk/>
            <pc:sldMk cId="3363990098" sldId="623"/>
            <ac:spMk id="11" creationId="{2224CD71-60DA-4317-87E5-72D450424779}"/>
          </ac:spMkLst>
        </pc:spChg>
        <pc:spChg chg="del">
          <ac:chgData name="Daniel Valero" userId="31dd2ff7-9a08-462f-9096-6c487a317220" providerId="ADAL" clId="{13C66EB5-766D-4A69-8EF8-1B215228E3C9}" dt="2020-02-25T19:01:49.968" v="4715" actId="478"/>
          <ac:spMkLst>
            <pc:docMk/>
            <pc:sldMk cId="3363990098" sldId="623"/>
            <ac:spMk id="12" creationId="{B21B801E-94C2-416D-B6EF-30A009D6BABB}"/>
          </ac:spMkLst>
        </pc:spChg>
        <pc:spChg chg="del">
          <ac:chgData name="Daniel Valero" userId="31dd2ff7-9a08-462f-9096-6c487a317220" providerId="ADAL" clId="{13C66EB5-766D-4A69-8EF8-1B215228E3C9}" dt="2020-02-25T19:01:49.968" v="4715" actId="478"/>
          <ac:spMkLst>
            <pc:docMk/>
            <pc:sldMk cId="3363990098" sldId="623"/>
            <ac:spMk id="14" creationId="{E35CE312-6ED7-44DD-8D1B-615F04F0D4D1}"/>
          </ac:spMkLst>
        </pc:spChg>
        <pc:spChg chg="del">
          <ac:chgData name="Daniel Valero" userId="31dd2ff7-9a08-462f-9096-6c487a317220" providerId="ADAL" clId="{13C66EB5-766D-4A69-8EF8-1B215228E3C9}" dt="2020-02-25T19:01:49.968" v="4715" actId="478"/>
          <ac:spMkLst>
            <pc:docMk/>
            <pc:sldMk cId="3363990098" sldId="623"/>
            <ac:spMk id="15" creationId="{75366D26-DDCF-4B22-A6CC-1086C4A66DDF}"/>
          </ac:spMkLst>
        </pc:spChg>
        <pc:spChg chg="del">
          <ac:chgData name="Daniel Valero" userId="31dd2ff7-9a08-462f-9096-6c487a317220" providerId="ADAL" clId="{13C66EB5-766D-4A69-8EF8-1B215228E3C9}" dt="2020-02-25T19:01:49.968" v="4715" actId="478"/>
          <ac:spMkLst>
            <pc:docMk/>
            <pc:sldMk cId="3363990098" sldId="623"/>
            <ac:spMk id="16" creationId="{76CD0A62-E722-4033-8C2A-35930BC70C38}"/>
          </ac:spMkLst>
        </pc:spChg>
        <pc:spChg chg="del">
          <ac:chgData name="Daniel Valero" userId="31dd2ff7-9a08-462f-9096-6c487a317220" providerId="ADAL" clId="{13C66EB5-766D-4A69-8EF8-1B215228E3C9}" dt="2020-02-25T19:01:49.968" v="4715" actId="478"/>
          <ac:spMkLst>
            <pc:docMk/>
            <pc:sldMk cId="3363990098" sldId="623"/>
            <ac:spMk id="17" creationId="{01F8DCA1-0A1C-4589-A114-F7260B8D3605}"/>
          </ac:spMkLst>
        </pc:spChg>
        <pc:spChg chg="del">
          <ac:chgData name="Daniel Valero" userId="31dd2ff7-9a08-462f-9096-6c487a317220" providerId="ADAL" clId="{13C66EB5-766D-4A69-8EF8-1B215228E3C9}" dt="2020-02-25T19:01:49.968" v="4715" actId="478"/>
          <ac:spMkLst>
            <pc:docMk/>
            <pc:sldMk cId="3363990098" sldId="623"/>
            <ac:spMk id="18" creationId="{91ADEC72-9D40-40A7-9F63-13F01E33DF64}"/>
          </ac:spMkLst>
        </pc:spChg>
        <pc:spChg chg="del">
          <ac:chgData name="Daniel Valero" userId="31dd2ff7-9a08-462f-9096-6c487a317220" providerId="ADAL" clId="{13C66EB5-766D-4A69-8EF8-1B215228E3C9}" dt="2020-02-25T19:01:49.968" v="4715" actId="478"/>
          <ac:spMkLst>
            <pc:docMk/>
            <pc:sldMk cId="3363990098" sldId="623"/>
            <ac:spMk id="19" creationId="{8C0223B9-0C0B-4D03-835C-BB276F2AFE6A}"/>
          </ac:spMkLst>
        </pc:spChg>
        <pc:spChg chg="del">
          <ac:chgData name="Daniel Valero" userId="31dd2ff7-9a08-462f-9096-6c487a317220" providerId="ADAL" clId="{13C66EB5-766D-4A69-8EF8-1B215228E3C9}" dt="2020-02-25T19:01:49.968" v="4715" actId="478"/>
          <ac:spMkLst>
            <pc:docMk/>
            <pc:sldMk cId="3363990098" sldId="623"/>
            <ac:spMk id="21" creationId="{59BC122F-56A4-4744-ACD8-1FA161AF9637}"/>
          </ac:spMkLst>
        </pc:spChg>
        <pc:spChg chg="del">
          <ac:chgData name="Daniel Valero" userId="31dd2ff7-9a08-462f-9096-6c487a317220" providerId="ADAL" clId="{13C66EB5-766D-4A69-8EF8-1B215228E3C9}" dt="2020-02-25T19:01:49.968" v="4715" actId="478"/>
          <ac:spMkLst>
            <pc:docMk/>
            <pc:sldMk cId="3363990098" sldId="623"/>
            <ac:spMk id="22" creationId="{F261C6AE-C9E6-4EA3-9806-760F4DF13F16}"/>
          </ac:spMkLst>
        </pc:spChg>
        <pc:spChg chg="del">
          <ac:chgData name="Daniel Valero" userId="31dd2ff7-9a08-462f-9096-6c487a317220" providerId="ADAL" clId="{13C66EB5-766D-4A69-8EF8-1B215228E3C9}" dt="2020-02-25T19:01:49.968" v="4715" actId="478"/>
          <ac:spMkLst>
            <pc:docMk/>
            <pc:sldMk cId="3363990098" sldId="623"/>
            <ac:spMk id="23" creationId="{1481159C-E664-4223-BE03-5DA2A61AF604}"/>
          </ac:spMkLst>
        </pc:spChg>
        <pc:spChg chg="del">
          <ac:chgData name="Daniel Valero" userId="31dd2ff7-9a08-462f-9096-6c487a317220" providerId="ADAL" clId="{13C66EB5-766D-4A69-8EF8-1B215228E3C9}" dt="2020-02-25T19:01:49.968" v="4715" actId="478"/>
          <ac:spMkLst>
            <pc:docMk/>
            <pc:sldMk cId="3363990098" sldId="623"/>
            <ac:spMk id="24" creationId="{65080DA3-54A4-41FB-B39B-9A2782630F40}"/>
          </ac:spMkLst>
        </pc:spChg>
        <pc:spChg chg="add mod">
          <ac:chgData name="Daniel Valero" userId="31dd2ff7-9a08-462f-9096-6c487a317220" providerId="ADAL" clId="{13C66EB5-766D-4A69-8EF8-1B215228E3C9}" dt="2020-02-25T19:07:24.427" v="4877" actId="554"/>
          <ac:spMkLst>
            <pc:docMk/>
            <pc:sldMk cId="3363990098" sldId="623"/>
            <ac:spMk id="27" creationId="{D6223C16-136D-4944-BBF1-6B612D676766}"/>
          </ac:spMkLst>
        </pc:spChg>
        <pc:spChg chg="add mod">
          <ac:chgData name="Daniel Valero" userId="31dd2ff7-9a08-462f-9096-6c487a317220" providerId="ADAL" clId="{13C66EB5-766D-4A69-8EF8-1B215228E3C9}" dt="2020-02-25T19:07:24.427" v="4877" actId="554"/>
          <ac:spMkLst>
            <pc:docMk/>
            <pc:sldMk cId="3363990098" sldId="623"/>
            <ac:spMk id="28" creationId="{F979CF76-1DF3-4F0F-9E36-E82715E9129A}"/>
          </ac:spMkLst>
        </pc:spChg>
        <pc:spChg chg="del">
          <ac:chgData name="Daniel Valero" userId="31dd2ff7-9a08-462f-9096-6c487a317220" providerId="ADAL" clId="{13C66EB5-766D-4A69-8EF8-1B215228E3C9}" dt="2020-02-25T19:01:49.968" v="4715" actId="478"/>
          <ac:spMkLst>
            <pc:docMk/>
            <pc:sldMk cId="3363990098" sldId="623"/>
            <ac:spMk id="33" creationId="{09C0E520-A9B3-4997-A27D-0B17F6B00BB8}"/>
          </ac:spMkLst>
        </pc:spChg>
        <pc:spChg chg="del">
          <ac:chgData name="Daniel Valero" userId="31dd2ff7-9a08-462f-9096-6c487a317220" providerId="ADAL" clId="{13C66EB5-766D-4A69-8EF8-1B215228E3C9}" dt="2020-02-25T19:01:49.968" v="4715" actId="478"/>
          <ac:spMkLst>
            <pc:docMk/>
            <pc:sldMk cId="3363990098" sldId="623"/>
            <ac:spMk id="34" creationId="{0F51054F-0789-402B-A5ED-4665F356CAFE}"/>
          </ac:spMkLst>
        </pc:spChg>
        <pc:spChg chg="del">
          <ac:chgData name="Daniel Valero" userId="31dd2ff7-9a08-462f-9096-6c487a317220" providerId="ADAL" clId="{13C66EB5-766D-4A69-8EF8-1B215228E3C9}" dt="2020-02-25T19:01:46.176" v="4713" actId="478"/>
          <ac:spMkLst>
            <pc:docMk/>
            <pc:sldMk cId="3363990098" sldId="623"/>
            <ac:spMk id="35" creationId="{E82C582F-9E37-4CA1-87E3-276BF1DE4A34}"/>
          </ac:spMkLst>
        </pc:spChg>
        <pc:picChg chg="add mod modCrop">
          <ac:chgData name="Daniel Valero" userId="31dd2ff7-9a08-462f-9096-6c487a317220" providerId="ADAL" clId="{13C66EB5-766D-4A69-8EF8-1B215228E3C9}" dt="2020-02-25T19:07:12.445" v="4874" actId="1076"/>
          <ac:picMkLst>
            <pc:docMk/>
            <pc:sldMk cId="3363990098" sldId="623"/>
            <ac:picMk id="4" creationId="{67624C2C-33CD-4095-A586-2D4F4782AAFE}"/>
          </ac:picMkLst>
        </pc:picChg>
        <pc:picChg chg="add mod modCrop">
          <ac:chgData name="Daniel Valero" userId="31dd2ff7-9a08-462f-9096-6c487a317220" providerId="ADAL" clId="{13C66EB5-766D-4A69-8EF8-1B215228E3C9}" dt="2020-02-25T19:07:19.950" v="4876" actId="1076"/>
          <ac:picMkLst>
            <pc:docMk/>
            <pc:sldMk cId="3363990098" sldId="623"/>
            <ac:picMk id="6" creationId="{577A602D-1619-438A-99E3-87626B8E4208}"/>
          </ac:picMkLst>
        </pc:picChg>
        <pc:picChg chg="del">
          <ac:chgData name="Daniel Valero" userId="31dd2ff7-9a08-462f-9096-6c487a317220" providerId="ADAL" clId="{13C66EB5-766D-4A69-8EF8-1B215228E3C9}" dt="2020-02-25T19:01:46.956" v="4714" actId="478"/>
          <ac:picMkLst>
            <pc:docMk/>
            <pc:sldMk cId="3363990098" sldId="623"/>
            <ac:picMk id="26" creationId="{729BD118-B9CA-426C-8EFD-5A194B3BCD4B}"/>
          </ac:picMkLst>
        </pc:picChg>
      </pc:sldChg>
      <pc:sldChg chg="addSp delSp modSp add mod modNotesTx">
        <pc:chgData name="Daniel Valero" userId="31dd2ff7-9a08-462f-9096-6c487a317220" providerId="ADAL" clId="{13C66EB5-766D-4A69-8EF8-1B215228E3C9}" dt="2020-02-25T19:11:27.470" v="5146" actId="1076"/>
        <pc:sldMkLst>
          <pc:docMk/>
          <pc:sldMk cId="593398684" sldId="624"/>
        </pc:sldMkLst>
        <pc:spChg chg="mod">
          <ac:chgData name="Daniel Valero" userId="31dd2ff7-9a08-462f-9096-6c487a317220" providerId="ADAL" clId="{13C66EB5-766D-4A69-8EF8-1B215228E3C9}" dt="2020-02-25T19:08:50.012" v="4927" actId="20577"/>
          <ac:spMkLst>
            <pc:docMk/>
            <pc:sldMk cId="593398684" sldId="624"/>
            <ac:spMk id="2" creationId="{EB67312A-9819-43C6-8D84-D9136E6CFFCC}"/>
          </ac:spMkLst>
        </pc:spChg>
        <pc:spChg chg="mod">
          <ac:chgData name="Daniel Valero" userId="31dd2ff7-9a08-462f-9096-6c487a317220" providerId="ADAL" clId="{13C66EB5-766D-4A69-8EF8-1B215228E3C9}" dt="2020-02-25T19:08:39.621" v="4912" actId="313"/>
          <ac:spMkLst>
            <pc:docMk/>
            <pc:sldMk cId="593398684" sldId="624"/>
            <ac:spMk id="3" creationId="{F35E8CBB-5A7D-4DEF-BAF7-8DD5D042F9E0}"/>
          </ac:spMkLst>
        </pc:spChg>
        <pc:spChg chg="add del">
          <ac:chgData name="Daniel Valero" userId="31dd2ff7-9a08-462f-9096-6c487a317220" providerId="ADAL" clId="{13C66EB5-766D-4A69-8EF8-1B215228E3C9}" dt="2020-02-25T19:10:27.125" v="4940"/>
          <ac:spMkLst>
            <pc:docMk/>
            <pc:sldMk cId="593398684" sldId="624"/>
            <ac:spMk id="7" creationId="{90601F5E-4B39-4EA1-B957-9033AF0F6414}"/>
          </ac:spMkLst>
        </pc:spChg>
        <pc:spChg chg="add mod">
          <ac:chgData name="Daniel Valero" userId="31dd2ff7-9a08-462f-9096-6c487a317220" providerId="ADAL" clId="{13C66EB5-766D-4A69-8EF8-1B215228E3C9}" dt="2020-02-25T19:11:27.470" v="5146" actId="1076"/>
          <ac:spMkLst>
            <pc:docMk/>
            <pc:sldMk cId="593398684" sldId="624"/>
            <ac:spMk id="8" creationId="{D4E53F4A-1426-4587-A994-2539692BA5CD}"/>
          </ac:spMkLst>
        </pc:spChg>
        <pc:spChg chg="del">
          <ac:chgData name="Daniel Valero" userId="31dd2ff7-9a08-462f-9096-6c487a317220" providerId="ADAL" clId="{13C66EB5-766D-4A69-8EF8-1B215228E3C9}" dt="2020-02-25T19:10:19.727" v="4937" actId="478"/>
          <ac:spMkLst>
            <pc:docMk/>
            <pc:sldMk cId="593398684" sldId="624"/>
            <ac:spMk id="27" creationId="{D6223C16-136D-4944-BBF1-6B612D676766}"/>
          </ac:spMkLst>
        </pc:spChg>
        <pc:spChg chg="del">
          <ac:chgData name="Daniel Valero" userId="31dd2ff7-9a08-462f-9096-6c487a317220" providerId="ADAL" clId="{13C66EB5-766D-4A69-8EF8-1B215228E3C9}" dt="2020-02-25T19:09:43.549" v="4933" actId="478"/>
          <ac:spMkLst>
            <pc:docMk/>
            <pc:sldMk cId="593398684" sldId="624"/>
            <ac:spMk id="28" creationId="{F979CF76-1DF3-4F0F-9E36-E82715E9129A}"/>
          </ac:spMkLst>
        </pc:spChg>
        <pc:picChg chg="del">
          <ac:chgData name="Daniel Valero" userId="31dd2ff7-9a08-462f-9096-6c487a317220" providerId="ADAL" clId="{13C66EB5-766D-4A69-8EF8-1B215228E3C9}" dt="2020-02-25T19:08:21.642" v="4885" actId="478"/>
          <ac:picMkLst>
            <pc:docMk/>
            <pc:sldMk cId="593398684" sldId="624"/>
            <ac:picMk id="4" creationId="{67624C2C-33CD-4095-A586-2D4F4782AAFE}"/>
          </ac:picMkLst>
        </pc:picChg>
        <pc:picChg chg="add mod">
          <ac:chgData name="Daniel Valero" userId="31dd2ff7-9a08-462f-9096-6c487a317220" providerId="ADAL" clId="{13C66EB5-766D-4A69-8EF8-1B215228E3C9}" dt="2020-02-25T19:10:22.570" v="4938" actId="1076"/>
          <ac:picMkLst>
            <pc:docMk/>
            <pc:sldMk cId="593398684" sldId="624"/>
            <ac:picMk id="5" creationId="{CF9DCC56-B0B2-4004-BAED-B8DAC74A6FFC}"/>
          </ac:picMkLst>
        </pc:picChg>
        <pc:picChg chg="del">
          <ac:chgData name="Daniel Valero" userId="31dd2ff7-9a08-462f-9096-6c487a317220" providerId="ADAL" clId="{13C66EB5-766D-4A69-8EF8-1B215228E3C9}" dt="2020-02-25T19:08:21.953" v="4886" actId="478"/>
          <ac:picMkLst>
            <pc:docMk/>
            <pc:sldMk cId="593398684" sldId="624"/>
            <ac:picMk id="6" creationId="{577A602D-1619-438A-99E3-87626B8E4208}"/>
          </ac:picMkLst>
        </pc:picChg>
      </pc:sldChg>
      <pc:sldChg chg="modSp add mod">
        <pc:chgData name="Daniel Valero" userId="31dd2ff7-9a08-462f-9096-6c487a317220" providerId="ADAL" clId="{13C66EB5-766D-4A69-8EF8-1B215228E3C9}" dt="2020-02-25T20:23:20.313" v="5194" actId="20577"/>
        <pc:sldMkLst>
          <pc:docMk/>
          <pc:sldMk cId="1217066516" sldId="625"/>
        </pc:sldMkLst>
        <pc:spChg chg="mod">
          <ac:chgData name="Daniel Valero" userId="31dd2ff7-9a08-462f-9096-6c487a317220" providerId="ADAL" clId="{13C66EB5-766D-4A69-8EF8-1B215228E3C9}" dt="2020-02-25T20:23:20.313" v="5194" actId="20577"/>
          <ac:spMkLst>
            <pc:docMk/>
            <pc:sldMk cId="1217066516" sldId="625"/>
            <ac:spMk id="2" creationId="{EB67312A-9819-43C6-8D84-D9136E6CFFCC}"/>
          </ac:spMkLst>
        </pc:spChg>
      </pc:sldChg>
      <pc:sldChg chg="modSp add mod">
        <pc:chgData name="Daniel Valero" userId="31dd2ff7-9a08-462f-9096-6c487a317220" providerId="ADAL" clId="{13C66EB5-766D-4A69-8EF8-1B215228E3C9}" dt="2020-02-25T20:23:39.012" v="5197"/>
        <pc:sldMkLst>
          <pc:docMk/>
          <pc:sldMk cId="743094843" sldId="626"/>
        </pc:sldMkLst>
        <pc:spChg chg="mod">
          <ac:chgData name="Daniel Valero" userId="31dd2ff7-9a08-462f-9096-6c487a317220" providerId="ADAL" clId="{13C66EB5-766D-4A69-8EF8-1B215228E3C9}" dt="2020-02-25T20:23:39.012" v="5197"/>
          <ac:spMkLst>
            <pc:docMk/>
            <pc:sldMk cId="743094843" sldId="626"/>
            <ac:spMk id="2" creationId="{EB67312A-9819-43C6-8D84-D9136E6CFFCC}"/>
          </ac:spMkLst>
        </pc:spChg>
      </pc:sldChg>
      <pc:sldChg chg="modSp add">
        <pc:chgData name="Daniel Valero" userId="31dd2ff7-9a08-462f-9096-6c487a317220" providerId="ADAL" clId="{13C66EB5-766D-4A69-8EF8-1B215228E3C9}" dt="2020-02-25T20:45:15.626" v="5343"/>
        <pc:sldMkLst>
          <pc:docMk/>
          <pc:sldMk cId="2024360696" sldId="627"/>
        </pc:sldMkLst>
        <pc:spChg chg="mod">
          <ac:chgData name="Daniel Valero" userId="31dd2ff7-9a08-462f-9096-6c487a317220" providerId="ADAL" clId="{13C66EB5-766D-4A69-8EF8-1B215228E3C9}" dt="2020-02-25T20:45:15.626" v="5343"/>
          <ac:spMkLst>
            <pc:docMk/>
            <pc:sldMk cId="2024360696" sldId="627"/>
            <ac:spMk id="2" creationId="{EB67312A-9819-43C6-8D84-D9136E6CFFCC}"/>
          </ac:spMkLst>
        </pc:spChg>
      </pc:sldChg>
      <pc:sldChg chg="modSp add">
        <pc:chgData name="Daniel Valero" userId="31dd2ff7-9a08-462f-9096-6c487a317220" providerId="ADAL" clId="{13C66EB5-766D-4A69-8EF8-1B215228E3C9}" dt="2020-02-25T20:45:27.577" v="5345"/>
        <pc:sldMkLst>
          <pc:docMk/>
          <pc:sldMk cId="3785445527" sldId="628"/>
        </pc:sldMkLst>
        <pc:spChg chg="mod">
          <ac:chgData name="Daniel Valero" userId="31dd2ff7-9a08-462f-9096-6c487a317220" providerId="ADAL" clId="{13C66EB5-766D-4A69-8EF8-1B215228E3C9}" dt="2020-02-25T20:45:27.577" v="5345"/>
          <ac:spMkLst>
            <pc:docMk/>
            <pc:sldMk cId="3785445527" sldId="628"/>
            <ac:spMk id="2" creationId="{EB67312A-9819-43C6-8D84-D9136E6CFFCC}"/>
          </ac:spMkLst>
        </pc:spChg>
      </pc:sldChg>
      <pc:sldChg chg="modSp add">
        <pc:chgData name="Daniel Valero" userId="31dd2ff7-9a08-462f-9096-6c487a317220" providerId="ADAL" clId="{13C66EB5-766D-4A69-8EF8-1B215228E3C9}" dt="2020-02-25T20:45:44.192" v="5346"/>
        <pc:sldMkLst>
          <pc:docMk/>
          <pc:sldMk cId="3568901222" sldId="629"/>
        </pc:sldMkLst>
        <pc:spChg chg="mod">
          <ac:chgData name="Daniel Valero" userId="31dd2ff7-9a08-462f-9096-6c487a317220" providerId="ADAL" clId="{13C66EB5-766D-4A69-8EF8-1B215228E3C9}" dt="2020-02-25T20:45:44.192" v="5346"/>
          <ac:spMkLst>
            <pc:docMk/>
            <pc:sldMk cId="3568901222" sldId="629"/>
            <ac:spMk id="2" creationId="{EB67312A-9819-43C6-8D84-D9136E6CFFCC}"/>
          </ac:spMkLst>
        </pc:spChg>
      </pc:sldChg>
      <pc:sldChg chg="modSp add">
        <pc:chgData name="Daniel Valero" userId="31dd2ff7-9a08-462f-9096-6c487a317220" providerId="ADAL" clId="{13C66EB5-766D-4A69-8EF8-1B215228E3C9}" dt="2020-02-25T20:46:08.166" v="5348"/>
        <pc:sldMkLst>
          <pc:docMk/>
          <pc:sldMk cId="3702163554" sldId="630"/>
        </pc:sldMkLst>
        <pc:spChg chg="mod">
          <ac:chgData name="Daniel Valero" userId="31dd2ff7-9a08-462f-9096-6c487a317220" providerId="ADAL" clId="{13C66EB5-766D-4A69-8EF8-1B215228E3C9}" dt="2020-02-25T20:46:08.166" v="5348"/>
          <ac:spMkLst>
            <pc:docMk/>
            <pc:sldMk cId="3702163554" sldId="630"/>
            <ac:spMk id="2" creationId="{EB67312A-9819-43C6-8D84-D9136E6CFFCC}"/>
          </ac:spMkLst>
        </pc:spChg>
      </pc:sldChg>
      <pc:sldChg chg="modSp add">
        <pc:chgData name="Daniel Valero" userId="31dd2ff7-9a08-462f-9096-6c487a317220" providerId="ADAL" clId="{13C66EB5-766D-4A69-8EF8-1B215228E3C9}" dt="2020-02-25T20:46:13.995" v="5349"/>
        <pc:sldMkLst>
          <pc:docMk/>
          <pc:sldMk cId="1732971809" sldId="631"/>
        </pc:sldMkLst>
        <pc:spChg chg="mod">
          <ac:chgData name="Daniel Valero" userId="31dd2ff7-9a08-462f-9096-6c487a317220" providerId="ADAL" clId="{13C66EB5-766D-4A69-8EF8-1B215228E3C9}" dt="2020-02-25T20:46:13.995" v="5349"/>
          <ac:spMkLst>
            <pc:docMk/>
            <pc:sldMk cId="1732971809" sldId="631"/>
            <ac:spMk id="2" creationId="{EB67312A-9819-43C6-8D84-D9136E6CFFCC}"/>
          </ac:spMkLst>
        </pc:spChg>
      </pc:sldChg>
      <pc:sldChg chg="modSp add">
        <pc:chgData name="Daniel Valero" userId="31dd2ff7-9a08-462f-9096-6c487a317220" providerId="ADAL" clId="{13C66EB5-766D-4A69-8EF8-1B215228E3C9}" dt="2020-02-25T20:46:25.732" v="5350"/>
        <pc:sldMkLst>
          <pc:docMk/>
          <pc:sldMk cId="2857195574" sldId="632"/>
        </pc:sldMkLst>
        <pc:spChg chg="mod">
          <ac:chgData name="Daniel Valero" userId="31dd2ff7-9a08-462f-9096-6c487a317220" providerId="ADAL" clId="{13C66EB5-766D-4A69-8EF8-1B215228E3C9}" dt="2020-02-25T20:46:25.732" v="5350"/>
          <ac:spMkLst>
            <pc:docMk/>
            <pc:sldMk cId="2857195574" sldId="632"/>
            <ac:spMk id="2" creationId="{EB67312A-9819-43C6-8D84-D9136E6CFFCC}"/>
          </ac:spMkLst>
        </pc:spChg>
      </pc:sldChg>
      <pc:sldChg chg="addSp delSp modSp add mod modNotesTx">
        <pc:chgData name="Daniel Valero" userId="31dd2ff7-9a08-462f-9096-6c487a317220" providerId="ADAL" clId="{13C66EB5-766D-4A69-8EF8-1B215228E3C9}" dt="2020-02-26T19:13:33.900" v="5405" actId="14100"/>
        <pc:sldMkLst>
          <pc:docMk/>
          <pc:sldMk cId="466097575" sldId="633"/>
        </pc:sldMkLst>
        <pc:spChg chg="mod">
          <ac:chgData name="Daniel Valero" userId="31dd2ff7-9a08-462f-9096-6c487a317220" providerId="ADAL" clId="{13C66EB5-766D-4A69-8EF8-1B215228E3C9}" dt="2020-02-26T19:06:43.428" v="5373" actId="20577"/>
          <ac:spMkLst>
            <pc:docMk/>
            <pc:sldMk cId="466097575" sldId="633"/>
            <ac:spMk id="3" creationId="{F35E8CBB-5A7D-4DEF-BAF7-8DD5D042F9E0}"/>
          </ac:spMkLst>
        </pc:spChg>
        <pc:spChg chg="add del mod">
          <ac:chgData name="Daniel Valero" userId="31dd2ff7-9a08-462f-9096-6c487a317220" providerId="ADAL" clId="{13C66EB5-766D-4A69-8EF8-1B215228E3C9}" dt="2020-02-26T19:07:07.574" v="5384"/>
          <ac:spMkLst>
            <pc:docMk/>
            <pc:sldMk cId="466097575" sldId="633"/>
            <ac:spMk id="6" creationId="{4525BBB5-0B9E-4B5F-8B45-438B46B7BBED}"/>
          </ac:spMkLst>
        </pc:spChg>
        <pc:spChg chg="mod">
          <ac:chgData name="Daniel Valero" userId="31dd2ff7-9a08-462f-9096-6c487a317220" providerId="ADAL" clId="{13C66EB5-766D-4A69-8EF8-1B215228E3C9}" dt="2020-02-26T19:08:19.564" v="5398" actId="1076"/>
          <ac:spMkLst>
            <pc:docMk/>
            <pc:sldMk cId="466097575" sldId="633"/>
            <ac:spMk id="8" creationId="{D4E53F4A-1426-4587-A994-2539692BA5CD}"/>
          </ac:spMkLst>
        </pc:spChg>
        <pc:spChg chg="add del mod">
          <ac:chgData name="Daniel Valero" userId="31dd2ff7-9a08-462f-9096-6c487a317220" providerId="ADAL" clId="{13C66EB5-766D-4A69-8EF8-1B215228E3C9}" dt="2020-02-26T19:07:16.988" v="5392" actId="478"/>
          <ac:spMkLst>
            <pc:docMk/>
            <pc:sldMk cId="466097575" sldId="633"/>
            <ac:spMk id="9" creationId="{E691691B-0987-4438-8E8E-43969ED7127C}"/>
          </ac:spMkLst>
        </pc:spChg>
        <pc:picChg chg="del">
          <ac:chgData name="Daniel Valero" userId="31dd2ff7-9a08-462f-9096-6c487a317220" providerId="ADAL" clId="{13C66EB5-766D-4A69-8EF8-1B215228E3C9}" dt="2020-02-26T19:06:50.864" v="5374" actId="478"/>
          <ac:picMkLst>
            <pc:docMk/>
            <pc:sldMk cId="466097575" sldId="633"/>
            <ac:picMk id="5" creationId="{CF9DCC56-B0B2-4004-BAED-B8DAC74A6FFC}"/>
          </ac:picMkLst>
        </pc:picChg>
        <pc:picChg chg="add del mod">
          <ac:chgData name="Daniel Valero" userId="31dd2ff7-9a08-462f-9096-6c487a317220" providerId="ADAL" clId="{13C66EB5-766D-4A69-8EF8-1B215228E3C9}" dt="2020-02-26T19:07:07.574" v="5384"/>
          <ac:picMkLst>
            <pc:docMk/>
            <pc:sldMk cId="466097575" sldId="633"/>
            <ac:picMk id="7" creationId="{1F50CB97-9D47-41CE-B62E-783BACB28A6F}"/>
          </ac:picMkLst>
        </pc:picChg>
        <pc:picChg chg="add del mod">
          <ac:chgData name="Daniel Valero" userId="31dd2ff7-9a08-462f-9096-6c487a317220" providerId="ADAL" clId="{13C66EB5-766D-4A69-8EF8-1B215228E3C9}" dt="2020-02-26T19:13:24.583" v="5402" actId="478"/>
          <ac:picMkLst>
            <pc:docMk/>
            <pc:sldMk cId="466097575" sldId="633"/>
            <ac:picMk id="10" creationId="{19684C69-58DC-40DA-9B6C-32AFD812DBC8}"/>
          </ac:picMkLst>
        </pc:picChg>
        <pc:picChg chg="add mod">
          <ac:chgData name="Daniel Valero" userId="31dd2ff7-9a08-462f-9096-6c487a317220" providerId="ADAL" clId="{13C66EB5-766D-4A69-8EF8-1B215228E3C9}" dt="2020-02-26T19:13:33.900" v="5405" actId="14100"/>
          <ac:picMkLst>
            <pc:docMk/>
            <pc:sldMk cId="466097575" sldId="633"/>
            <ac:picMk id="1026" creationId="{7BF95E3C-D2EE-4E98-95D1-748526FEC2AB}"/>
          </ac:picMkLst>
        </pc:picChg>
      </pc:sldChg>
      <pc:sldChg chg="add del">
        <pc:chgData name="Daniel Valero" userId="31dd2ff7-9a08-462f-9096-6c487a317220" providerId="ADAL" clId="{13C66EB5-766D-4A69-8EF8-1B215228E3C9}" dt="2020-02-24T20:29:19.383" v="439"/>
        <pc:sldMkLst>
          <pc:docMk/>
          <pc:sldMk cId="665869574" sldId="1309"/>
        </pc:sldMkLst>
      </pc:sldChg>
      <pc:sldChg chg="add del">
        <pc:chgData name="Daniel Valero" userId="31dd2ff7-9a08-462f-9096-6c487a317220" providerId="ADAL" clId="{13C66EB5-766D-4A69-8EF8-1B215228E3C9}" dt="2020-02-24T20:29:19.383" v="439"/>
        <pc:sldMkLst>
          <pc:docMk/>
          <pc:sldMk cId="1412480476" sldId="1507"/>
        </pc:sldMkLst>
      </pc:sldChg>
      <pc:sldChg chg="add del">
        <pc:chgData name="Daniel Valero" userId="31dd2ff7-9a08-462f-9096-6c487a317220" providerId="ADAL" clId="{13C66EB5-766D-4A69-8EF8-1B215228E3C9}" dt="2020-02-24T20:29:19.383" v="439"/>
        <pc:sldMkLst>
          <pc:docMk/>
          <pc:sldMk cId="1212514240" sldId="1508"/>
        </pc:sldMkLst>
      </pc:sldChg>
      <pc:sldChg chg="add del">
        <pc:chgData name="Daniel Valero" userId="31dd2ff7-9a08-462f-9096-6c487a317220" providerId="ADAL" clId="{13C66EB5-766D-4A69-8EF8-1B215228E3C9}" dt="2020-02-24T20:29:19.383" v="439"/>
        <pc:sldMkLst>
          <pc:docMk/>
          <pc:sldMk cId="462344410" sldId="1515"/>
        </pc:sldMkLst>
      </pc:sldChg>
      <pc:sldChg chg="add del">
        <pc:chgData name="Daniel Valero" userId="31dd2ff7-9a08-462f-9096-6c487a317220" providerId="ADAL" clId="{13C66EB5-766D-4A69-8EF8-1B215228E3C9}" dt="2020-02-24T20:29:19.383" v="439"/>
        <pc:sldMkLst>
          <pc:docMk/>
          <pc:sldMk cId="3071145089" sldId="1516"/>
        </pc:sldMkLst>
      </pc:sldChg>
      <pc:sldChg chg="add del">
        <pc:chgData name="Daniel Valero" userId="31dd2ff7-9a08-462f-9096-6c487a317220" providerId="ADAL" clId="{13C66EB5-766D-4A69-8EF8-1B215228E3C9}" dt="2020-02-24T20:29:19.383" v="439"/>
        <pc:sldMkLst>
          <pc:docMk/>
          <pc:sldMk cId="4238209369" sldId="1517"/>
        </pc:sldMkLst>
      </pc:sldChg>
      <pc:sldChg chg="add del">
        <pc:chgData name="Daniel Valero" userId="31dd2ff7-9a08-462f-9096-6c487a317220" providerId="ADAL" clId="{13C66EB5-766D-4A69-8EF8-1B215228E3C9}" dt="2020-02-24T20:29:19.383" v="439"/>
        <pc:sldMkLst>
          <pc:docMk/>
          <pc:sldMk cId="2110776340" sldId="1518"/>
        </pc:sldMkLst>
      </pc:sldChg>
      <pc:sldChg chg="add del">
        <pc:chgData name="Daniel Valero" userId="31dd2ff7-9a08-462f-9096-6c487a317220" providerId="ADAL" clId="{13C66EB5-766D-4A69-8EF8-1B215228E3C9}" dt="2020-02-24T20:29:19.383" v="439"/>
        <pc:sldMkLst>
          <pc:docMk/>
          <pc:sldMk cId="1453214743" sldId="1519"/>
        </pc:sldMkLst>
      </pc:sldChg>
      <pc:sldChg chg="add del">
        <pc:chgData name="Daniel Valero" userId="31dd2ff7-9a08-462f-9096-6c487a317220" providerId="ADAL" clId="{13C66EB5-766D-4A69-8EF8-1B215228E3C9}" dt="2020-02-24T20:29:19.383" v="439"/>
        <pc:sldMkLst>
          <pc:docMk/>
          <pc:sldMk cId="2820745912" sldId="1524"/>
        </pc:sldMkLst>
      </pc:sldChg>
      <pc:sldChg chg="add del">
        <pc:chgData name="Daniel Valero" userId="31dd2ff7-9a08-462f-9096-6c487a317220" providerId="ADAL" clId="{13C66EB5-766D-4A69-8EF8-1B215228E3C9}" dt="2020-02-24T20:29:19.383" v="439"/>
        <pc:sldMkLst>
          <pc:docMk/>
          <pc:sldMk cId="2086305964" sldId="1526"/>
        </pc:sldMkLst>
      </pc:sldChg>
      <pc:sldChg chg="add del">
        <pc:chgData name="Daniel Valero" userId="31dd2ff7-9a08-462f-9096-6c487a317220" providerId="ADAL" clId="{13C66EB5-766D-4A69-8EF8-1B215228E3C9}" dt="2020-02-24T20:29:19.383" v="439"/>
        <pc:sldMkLst>
          <pc:docMk/>
          <pc:sldMk cId="2475373969" sldId="1527"/>
        </pc:sldMkLst>
      </pc:sldChg>
      <pc:sldChg chg="add del">
        <pc:chgData name="Daniel Valero" userId="31dd2ff7-9a08-462f-9096-6c487a317220" providerId="ADAL" clId="{13C66EB5-766D-4A69-8EF8-1B215228E3C9}" dt="2020-02-24T20:29:19.383" v="439"/>
        <pc:sldMkLst>
          <pc:docMk/>
          <pc:sldMk cId="3925578510" sldId="1528"/>
        </pc:sldMkLst>
      </pc:sldChg>
      <pc:sldChg chg="add del">
        <pc:chgData name="Daniel Valero" userId="31dd2ff7-9a08-462f-9096-6c487a317220" providerId="ADAL" clId="{13C66EB5-766D-4A69-8EF8-1B215228E3C9}" dt="2020-02-24T20:29:19.383" v="439"/>
        <pc:sldMkLst>
          <pc:docMk/>
          <pc:sldMk cId="1193634614" sldId="1533"/>
        </pc:sldMkLst>
      </pc:sldChg>
      <pc:sldChg chg="add del">
        <pc:chgData name="Daniel Valero" userId="31dd2ff7-9a08-462f-9096-6c487a317220" providerId="ADAL" clId="{13C66EB5-766D-4A69-8EF8-1B215228E3C9}" dt="2020-02-24T20:29:19.383" v="439"/>
        <pc:sldMkLst>
          <pc:docMk/>
          <pc:sldMk cId="3812835479" sldId="1534"/>
        </pc:sldMkLst>
      </pc:sldChg>
      <pc:sldChg chg="add del">
        <pc:chgData name="Daniel Valero" userId="31dd2ff7-9a08-462f-9096-6c487a317220" providerId="ADAL" clId="{13C66EB5-766D-4A69-8EF8-1B215228E3C9}" dt="2020-02-24T20:29:19.383" v="439"/>
        <pc:sldMkLst>
          <pc:docMk/>
          <pc:sldMk cId="3978618328" sldId="1535"/>
        </pc:sldMkLst>
      </pc:sldChg>
      <pc:sldChg chg="add del">
        <pc:chgData name="Daniel Valero" userId="31dd2ff7-9a08-462f-9096-6c487a317220" providerId="ADAL" clId="{13C66EB5-766D-4A69-8EF8-1B215228E3C9}" dt="2020-02-24T20:29:19.383" v="439"/>
        <pc:sldMkLst>
          <pc:docMk/>
          <pc:sldMk cId="3765356746" sldId="1536"/>
        </pc:sldMkLst>
      </pc:sldChg>
      <pc:sldChg chg="add del">
        <pc:chgData name="Daniel Valero" userId="31dd2ff7-9a08-462f-9096-6c487a317220" providerId="ADAL" clId="{13C66EB5-766D-4A69-8EF8-1B215228E3C9}" dt="2020-02-24T20:29:19.383" v="439"/>
        <pc:sldMkLst>
          <pc:docMk/>
          <pc:sldMk cId="1975669988" sldId="1542"/>
        </pc:sldMkLst>
      </pc:sldChg>
      <pc:sldChg chg="add del">
        <pc:chgData name="Daniel Valero" userId="31dd2ff7-9a08-462f-9096-6c487a317220" providerId="ADAL" clId="{13C66EB5-766D-4A69-8EF8-1B215228E3C9}" dt="2020-02-24T20:29:19.383" v="439"/>
        <pc:sldMkLst>
          <pc:docMk/>
          <pc:sldMk cId="1812418408" sldId="1543"/>
        </pc:sldMkLst>
      </pc:sldChg>
      <pc:sldChg chg="add del">
        <pc:chgData name="Daniel Valero" userId="31dd2ff7-9a08-462f-9096-6c487a317220" providerId="ADAL" clId="{13C66EB5-766D-4A69-8EF8-1B215228E3C9}" dt="2020-02-24T20:29:19.383" v="439"/>
        <pc:sldMkLst>
          <pc:docMk/>
          <pc:sldMk cId="3716097368" sldId="1544"/>
        </pc:sldMkLst>
      </pc:sldChg>
      <pc:sldChg chg="add del">
        <pc:chgData name="Daniel Valero" userId="31dd2ff7-9a08-462f-9096-6c487a317220" providerId="ADAL" clId="{13C66EB5-766D-4A69-8EF8-1B215228E3C9}" dt="2020-02-24T20:29:19.383" v="439"/>
        <pc:sldMkLst>
          <pc:docMk/>
          <pc:sldMk cId="3139621330" sldId="1545"/>
        </pc:sldMkLst>
      </pc:sldChg>
      <pc:sldChg chg="add del">
        <pc:chgData name="Daniel Valero" userId="31dd2ff7-9a08-462f-9096-6c487a317220" providerId="ADAL" clId="{13C66EB5-766D-4A69-8EF8-1B215228E3C9}" dt="2020-02-24T20:29:19.383" v="439"/>
        <pc:sldMkLst>
          <pc:docMk/>
          <pc:sldMk cId="510682016" sldId="1546"/>
        </pc:sldMkLst>
      </pc:sldChg>
      <pc:sldChg chg="add del">
        <pc:chgData name="Daniel Valero" userId="31dd2ff7-9a08-462f-9096-6c487a317220" providerId="ADAL" clId="{13C66EB5-766D-4A69-8EF8-1B215228E3C9}" dt="2020-02-24T20:29:19.383" v="439"/>
        <pc:sldMkLst>
          <pc:docMk/>
          <pc:sldMk cId="1146967871" sldId="1547"/>
        </pc:sldMkLst>
      </pc:sldChg>
      <pc:sldChg chg="add del">
        <pc:chgData name="Daniel Valero" userId="31dd2ff7-9a08-462f-9096-6c487a317220" providerId="ADAL" clId="{13C66EB5-766D-4A69-8EF8-1B215228E3C9}" dt="2020-02-24T20:29:19.383" v="439"/>
        <pc:sldMkLst>
          <pc:docMk/>
          <pc:sldMk cId="3028854829" sldId="1548"/>
        </pc:sldMkLst>
      </pc:sldChg>
      <pc:sldChg chg="add del">
        <pc:chgData name="Daniel Valero" userId="31dd2ff7-9a08-462f-9096-6c487a317220" providerId="ADAL" clId="{13C66EB5-766D-4A69-8EF8-1B215228E3C9}" dt="2020-02-24T20:29:19.383" v="439"/>
        <pc:sldMkLst>
          <pc:docMk/>
          <pc:sldMk cId="1724747282" sldId="1551"/>
        </pc:sldMkLst>
      </pc:sldChg>
      <pc:sldChg chg="add del">
        <pc:chgData name="Daniel Valero" userId="31dd2ff7-9a08-462f-9096-6c487a317220" providerId="ADAL" clId="{13C66EB5-766D-4A69-8EF8-1B215228E3C9}" dt="2020-02-24T20:29:19.383" v="439"/>
        <pc:sldMkLst>
          <pc:docMk/>
          <pc:sldMk cId="1594902588" sldId="1552"/>
        </pc:sldMkLst>
      </pc:sldChg>
      <pc:sldChg chg="add del">
        <pc:chgData name="Daniel Valero" userId="31dd2ff7-9a08-462f-9096-6c487a317220" providerId="ADAL" clId="{13C66EB5-766D-4A69-8EF8-1B215228E3C9}" dt="2020-02-24T20:29:19.383" v="439"/>
        <pc:sldMkLst>
          <pc:docMk/>
          <pc:sldMk cId="2583637940" sldId="1553"/>
        </pc:sldMkLst>
      </pc:sldChg>
      <pc:sldChg chg="add del">
        <pc:chgData name="Daniel Valero" userId="31dd2ff7-9a08-462f-9096-6c487a317220" providerId="ADAL" clId="{13C66EB5-766D-4A69-8EF8-1B215228E3C9}" dt="2020-02-24T20:29:19.383" v="439"/>
        <pc:sldMkLst>
          <pc:docMk/>
          <pc:sldMk cId="3734130775" sldId="1554"/>
        </pc:sldMkLst>
      </pc:sldChg>
      <pc:sldChg chg="add del">
        <pc:chgData name="Daniel Valero" userId="31dd2ff7-9a08-462f-9096-6c487a317220" providerId="ADAL" clId="{13C66EB5-766D-4A69-8EF8-1B215228E3C9}" dt="2020-02-24T20:29:19.383" v="439"/>
        <pc:sldMkLst>
          <pc:docMk/>
          <pc:sldMk cId="2477555516" sldId="1557"/>
        </pc:sldMkLst>
      </pc:sldChg>
      <pc:sldChg chg="add del">
        <pc:chgData name="Daniel Valero" userId="31dd2ff7-9a08-462f-9096-6c487a317220" providerId="ADAL" clId="{13C66EB5-766D-4A69-8EF8-1B215228E3C9}" dt="2020-02-24T20:29:19.383" v="439"/>
        <pc:sldMkLst>
          <pc:docMk/>
          <pc:sldMk cId="3084515726" sldId="1558"/>
        </pc:sldMkLst>
      </pc:sldChg>
      <pc:sldChg chg="add del">
        <pc:chgData name="Daniel Valero" userId="31dd2ff7-9a08-462f-9096-6c487a317220" providerId="ADAL" clId="{13C66EB5-766D-4A69-8EF8-1B215228E3C9}" dt="2020-02-24T20:29:19.383" v="439"/>
        <pc:sldMkLst>
          <pc:docMk/>
          <pc:sldMk cId="2613098337" sldId="1559"/>
        </pc:sldMkLst>
      </pc:sldChg>
      <pc:sldChg chg="add del">
        <pc:chgData name="Daniel Valero" userId="31dd2ff7-9a08-462f-9096-6c487a317220" providerId="ADAL" clId="{13C66EB5-766D-4A69-8EF8-1B215228E3C9}" dt="2020-02-24T20:29:19.383" v="439"/>
        <pc:sldMkLst>
          <pc:docMk/>
          <pc:sldMk cId="2319599772" sldId="1560"/>
        </pc:sldMkLst>
      </pc:sldChg>
      <pc:sldChg chg="add del">
        <pc:chgData name="Daniel Valero" userId="31dd2ff7-9a08-462f-9096-6c487a317220" providerId="ADAL" clId="{13C66EB5-766D-4A69-8EF8-1B215228E3C9}" dt="2020-02-24T20:29:19.383" v="439"/>
        <pc:sldMkLst>
          <pc:docMk/>
          <pc:sldMk cId="1909753479" sldId="1561"/>
        </pc:sldMkLst>
      </pc:sldChg>
      <pc:sldChg chg="add del">
        <pc:chgData name="Daniel Valero" userId="31dd2ff7-9a08-462f-9096-6c487a317220" providerId="ADAL" clId="{13C66EB5-766D-4A69-8EF8-1B215228E3C9}" dt="2020-02-24T20:29:19.383" v="439"/>
        <pc:sldMkLst>
          <pc:docMk/>
          <pc:sldMk cId="2077729028" sldId="1563"/>
        </pc:sldMkLst>
      </pc:sldChg>
      <pc:sldChg chg="add del">
        <pc:chgData name="Daniel Valero" userId="31dd2ff7-9a08-462f-9096-6c487a317220" providerId="ADAL" clId="{13C66EB5-766D-4A69-8EF8-1B215228E3C9}" dt="2020-02-24T20:29:19.383" v="439"/>
        <pc:sldMkLst>
          <pc:docMk/>
          <pc:sldMk cId="2352887102" sldId="1564"/>
        </pc:sldMkLst>
      </pc:sldChg>
      <pc:sldChg chg="add del">
        <pc:chgData name="Daniel Valero" userId="31dd2ff7-9a08-462f-9096-6c487a317220" providerId="ADAL" clId="{13C66EB5-766D-4A69-8EF8-1B215228E3C9}" dt="2020-02-24T20:29:19.383" v="439"/>
        <pc:sldMkLst>
          <pc:docMk/>
          <pc:sldMk cId="1864022674" sldId="1567"/>
        </pc:sldMkLst>
      </pc:sldChg>
      <pc:sldChg chg="add del">
        <pc:chgData name="Daniel Valero" userId="31dd2ff7-9a08-462f-9096-6c487a317220" providerId="ADAL" clId="{13C66EB5-766D-4A69-8EF8-1B215228E3C9}" dt="2020-02-24T20:29:19.383" v="439"/>
        <pc:sldMkLst>
          <pc:docMk/>
          <pc:sldMk cId="1798069288" sldId="1568"/>
        </pc:sldMkLst>
      </pc:sldChg>
      <pc:sldChg chg="add del">
        <pc:chgData name="Daniel Valero" userId="31dd2ff7-9a08-462f-9096-6c487a317220" providerId="ADAL" clId="{13C66EB5-766D-4A69-8EF8-1B215228E3C9}" dt="2020-02-24T20:29:19.383" v="439"/>
        <pc:sldMkLst>
          <pc:docMk/>
          <pc:sldMk cId="2278176409" sldId="1569"/>
        </pc:sldMkLst>
      </pc:sldChg>
      <pc:sldChg chg="add del">
        <pc:chgData name="Daniel Valero" userId="31dd2ff7-9a08-462f-9096-6c487a317220" providerId="ADAL" clId="{13C66EB5-766D-4A69-8EF8-1B215228E3C9}" dt="2020-02-24T20:29:19.383" v="439"/>
        <pc:sldMkLst>
          <pc:docMk/>
          <pc:sldMk cId="2687005851" sldId="1570"/>
        </pc:sldMkLst>
      </pc:sldChg>
      <pc:sldChg chg="add del">
        <pc:chgData name="Daniel Valero" userId="31dd2ff7-9a08-462f-9096-6c487a317220" providerId="ADAL" clId="{13C66EB5-766D-4A69-8EF8-1B215228E3C9}" dt="2020-02-24T20:29:19.383" v="439"/>
        <pc:sldMkLst>
          <pc:docMk/>
          <pc:sldMk cId="3142861671" sldId="1571"/>
        </pc:sldMkLst>
      </pc:sldChg>
      <pc:sldChg chg="add del">
        <pc:chgData name="Daniel Valero" userId="31dd2ff7-9a08-462f-9096-6c487a317220" providerId="ADAL" clId="{13C66EB5-766D-4A69-8EF8-1B215228E3C9}" dt="2020-02-24T20:29:19.383" v="439"/>
        <pc:sldMkLst>
          <pc:docMk/>
          <pc:sldMk cId="315594631" sldId="1572"/>
        </pc:sldMkLst>
      </pc:sldChg>
      <pc:sldChg chg="add del">
        <pc:chgData name="Daniel Valero" userId="31dd2ff7-9a08-462f-9096-6c487a317220" providerId="ADAL" clId="{13C66EB5-766D-4A69-8EF8-1B215228E3C9}" dt="2020-02-24T20:29:19.383" v="439"/>
        <pc:sldMkLst>
          <pc:docMk/>
          <pc:sldMk cId="556489978" sldId="1573"/>
        </pc:sldMkLst>
      </pc:sldChg>
      <pc:sldChg chg="add del">
        <pc:chgData name="Daniel Valero" userId="31dd2ff7-9a08-462f-9096-6c487a317220" providerId="ADAL" clId="{13C66EB5-766D-4A69-8EF8-1B215228E3C9}" dt="2020-02-24T20:29:19.383" v="439"/>
        <pc:sldMkLst>
          <pc:docMk/>
          <pc:sldMk cId="410262238" sldId="1574"/>
        </pc:sldMkLst>
      </pc:sldChg>
      <pc:sldChg chg="add del">
        <pc:chgData name="Daniel Valero" userId="31dd2ff7-9a08-462f-9096-6c487a317220" providerId="ADAL" clId="{13C66EB5-766D-4A69-8EF8-1B215228E3C9}" dt="2020-02-24T20:29:19.383" v="439"/>
        <pc:sldMkLst>
          <pc:docMk/>
          <pc:sldMk cId="2527236892" sldId="1575"/>
        </pc:sldMkLst>
      </pc:sldChg>
      <pc:sldChg chg="add del">
        <pc:chgData name="Daniel Valero" userId="31dd2ff7-9a08-462f-9096-6c487a317220" providerId="ADAL" clId="{13C66EB5-766D-4A69-8EF8-1B215228E3C9}" dt="2020-02-24T20:29:19.383" v="439"/>
        <pc:sldMkLst>
          <pc:docMk/>
          <pc:sldMk cId="956083507" sldId="1576"/>
        </pc:sldMkLst>
      </pc:sldChg>
      <pc:sldChg chg="add del">
        <pc:chgData name="Daniel Valero" userId="31dd2ff7-9a08-462f-9096-6c487a317220" providerId="ADAL" clId="{13C66EB5-766D-4A69-8EF8-1B215228E3C9}" dt="2020-02-24T20:29:19.383" v="439"/>
        <pc:sldMkLst>
          <pc:docMk/>
          <pc:sldMk cId="2440182661" sldId="1578"/>
        </pc:sldMkLst>
      </pc:sldChg>
      <pc:sldChg chg="add del">
        <pc:chgData name="Daniel Valero" userId="31dd2ff7-9a08-462f-9096-6c487a317220" providerId="ADAL" clId="{13C66EB5-766D-4A69-8EF8-1B215228E3C9}" dt="2020-02-24T20:29:19.383" v="439"/>
        <pc:sldMkLst>
          <pc:docMk/>
          <pc:sldMk cId="759317593" sldId="1579"/>
        </pc:sldMkLst>
      </pc:sldChg>
      <pc:sldChg chg="add del">
        <pc:chgData name="Daniel Valero" userId="31dd2ff7-9a08-462f-9096-6c487a317220" providerId="ADAL" clId="{13C66EB5-766D-4A69-8EF8-1B215228E3C9}" dt="2020-02-24T20:29:19.383" v="439"/>
        <pc:sldMkLst>
          <pc:docMk/>
          <pc:sldMk cId="3226818272" sldId="1582"/>
        </pc:sldMkLst>
      </pc:sldChg>
      <pc:sldChg chg="add del">
        <pc:chgData name="Daniel Valero" userId="31dd2ff7-9a08-462f-9096-6c487a317220" providerId="ADAL" clId="{13C66EB5-766D-4A69-8EF8-1B215228E3C9}" dt="2020-02-24T20:29:19.383" v="439"/>
        <pc:sldMkLst>
          <pc:docMk/>
          <pc:sldMk cId="512042155" sldId="1583"/>
        </pc:sldMkLst>
      </pc:sldChg>
      <pc:sldChg chg="add del">
        <pc:chgData name="Daniel Valero" userId="31dd2ff7-9a08-462f-9096-6c487a317220" providerId="ADAL" clId="{13C66EB5-766D-4A69-8EF8-1B215228E3C9}" dt="2020-02-24T20:29:19.383" v="439"/>
        <pc:sldMkLst>
          <pc:docMk/>
          <pc:sldMk cId="2728628212" sldId="1584"/>
        </pc:sldMkLst>
      </pc:sldChg>
      <pc:sldChg chg="add del">
        <pc:chgData name="Daniel Valero" userId="31dd2ff7-9a08-462f-9096-6c487a317220" providerId="ADAL" clId="{13C66EB5-766D-4A69-8EF8-1B215228E3C9}" dt="2020-02-24T20:29:19.383" v="439"/>
        <pc:sldMkLst>
          <pc:docMk/>
          <pc:sldMk cId="3021176347" sldId="1623"/>
        </pc:sldMkLst>
      </pc:sldChg>
      <pc:sldChg chg="add del">
        <pc:chgData name="Daniel Valero" userId="31dd2ff7-9a08-462f-9096-6c487a317220" providerId="ADAL" clId="{13C66EB5-766D-4A69-8EF8-1B215228E3C9}" dt="2020-02-24T20:29:19.383" v="439"/>
        <pc:sldMkLst>
          <pc:docMk/>
          <pc:sldMk cId="849862120" sldId="1625"/>
        </pc:sldMkLst>
      </pc:sldChg>
      <pc:sldChg chg="add del">
        <pc:chgData name="Daniel Valero" userId="31dd2ff7-9a08-462f-9096-6c487a317220" providerId="ADAL" clId="{13C66EB5-766D-4A69-8EF8-1B215228E3C9}" dt="2020-02-24T20:29:19.383" v="439"/>
        <pc:sldMkLst>
          <pc:docMk/>
          <pc:sldMk cId="1458211605" sldId="1627"/>
        </pc:sldMkLst>
      </pc:sldChg>
      <pc:sldChg chg="add del">
        <pc:chgData name="Daniel Valero" userId="31dd2ff7-9a08-462f-9096-6c487a317220" providerId="ADAL" clId="{13C66EB5-766D-4A69-8EF8-1B215228E3C9}" dt="2020-02-24T20:29:19.383" v="439"/>
        <pc:sldMkLst>
          <pc:docMk/>
          <pc:sldMk cId="473879106" sldId="1629"/>
        </pc:sldMkLst>
      </pc:sldChg>
      <pc:sldChg chg="modSp add del mod">
        <pc:chgData name="Daniel Valero" userId="31dd2ff7-9a08-462f-9096-6c487a317220" providerId="ADAL" clId="{13C66EB5-766D-4A69-8EF8-1B215228E3C9}" dt="2020-02-24T20:29:19.383" v="439"/>
        <pc:sldMkLst>
          <pc:docMk/>
          <pc:sldMk cId="2208622624" sldId="1631"/>
        </pc:sldMkLst>
        <pc:spChg chg="mod">
          <ac:chgData name="Daniel Valero" userId="31dd2ff7-9a08-462f-9096-6c487a317220" providerId="ADAL" clId="{13C66EB5-766D-4A69-8EF8-1B215228E3C9}" dt="2020-02-24T20:29:19.383" v="439"/>
          <ac:spMkLst>
            <pc:docMk/>
            <pc:sldMk cId="2208622624" sldId="1631"/>
            <ac:spMk id="3" creationId="{00000000-0000-0000-0000-000000000000}"/>
          </ac:spMkLst>
        </pc:spChg>
      </pc:sldChg>
      <pc:sldChg chg="add del">
        <pc:chgData name="Daniel Valero" userId="31dd2ff7-9a08-462f-9096-6c487a317220" providerId="ADAL" clId="{13C66EB5-766D-4A69-8EF8-1B215228E3C9}" dt="2020-02-24T20:29:19.383" v="439"/>
        <pc:sldMkLst>
          <pc:docMk/>
          <pc:sldMk cId="131980313" sldId="1632"/>
        </pc:sldMkLst>
      </pc:sldChg>
      <pc:sldChg chg="add del">
        <pc:chgData name="Daniel Valero" userId="31dd2ff7-9a08-462f-9096-6c487a317220" providerId="ADAL" clId="{13C66EB5-766D-4A69-8EF8-1B215228E3C9}" dt="2020-02-24T20:29:19.383" v="439"/>
        <pc:sldMkLst>
          <pc:docMk/>
          <pc:sldMk cId="3935566959" sldId="1633"/>
        </pc:sldMkLst>
      </pc:sldChg>
      <pc:sldChg chg="add del">
        <pc:chgData name="Daniel Valero" userId="31dd2ff7-9a08-462f-9096-6c487a317220" providerId="ADAL" clId="{13C66EB5-766D-4A69-8EF8-1B215228E3C9}" dt="2020-02-24T20:29:19.383" v="439"/>
        <pc:sldMkLst>
          <pc:docMk/>
          <pc:sldMk cId="1416453120" sldId="1634"/>
        </pc:sldMkLst>
      </pc:sldChg>
      <pc:sldChg chg="add del">
        <pc:chgData name="Daniel Valero" userId="31dd2ff7-9a08-462f-9096-6c487a317220" providerId="ADAL" clId="{13C66EB5-766D-4A69-8EF8-1B215228E3C9}" dt="2020-02-24T20:29:19.383" v="439"/>
        <pc:sldMkLst>
          <pc:docMk/>
          <pc:sldMk cId="2310885737" sldId="1635"/>
        </pc:sldMkLst>
      </pc:sldChg>
      <pc:sldChg chg="add del">
        <pc:chgData name="Daniel Valero" userId="31dd2ff7-9a08-462f-9096-6c487a317220" providerId="ADAL" clId="{13C66EB5-766D-4A69-8EF8-1B215228E3C9}" dt="2020-02-24T20:29:19.383" v="439"/>
        <pc:sldMkLst>
          <pc:docMk/>
          <pc:sldMk cId="3026454267" sldId="1638"/>
        </pc:sldMkLst>
      </pc:sldChg>
      <pc:sldChg chg="add del">
        <pc:chgData name="Daniel Valero" userId="31dd2ff7-9a08-462f-9096-6c487a317220" providerId="ADAL" clId="{13C66EB5-766D-4A69-8EF8-1B215228E3C9}" dt="2020-02-24T20:29:19.383" v="439"/>
        <pc:sldMkLst>
          <pc:docMk/>
          <pc:sldMk cId="2456128262" sldId="1641"/>
        </pc:sldMkLst>
      </pc:sldChg>
      <pc:sldChg chg="add del">
        <pc:chgData name="Daniel Valero" userId="31dd2ff7-9a08-462f-9096-6c487a317220" providerId="ADAL" clId="{13C66EB5-766D-4A69-8EF8-1B215228E3C9}" dt="2020-02-24T20:29:19.383" v="439"/>
        <pc:sldMkLst>
          <pc:docMk/>
          <pc:sldMk cId="427458265" sldId="1726"/>
        </pc:sldMkLst>
      </pc:sldChg>
    </pc:docChg>
  </pc:docChgLst>
  <pc:docChgLst>
    <pc:chgData name="Daniel Valero" userId="31dd2ff7-9a08-462f-9096-6c487a317220" providerId="ADAL" clId="{35116767-7705-4F31-BB14-507B37DB7D36}"/>
    <pc:docChg chg="undo custSel addSld modSld">
      <pc:chgData name="Daniel Valero" userId="31dd2ff7-9a08-462f-9096-6c487a317220" providerId="ADAL" clId="{35116767-7705-4F31-BB14-507B37DB7D36}" dt="2020-02-28T20:08:36.409" v="787" actId="20577"/>
      <pc:docMkLst>
        <pc:docMk/>
      </pc:docMkLst>
      <pc:sldChg chg="modSp modNotesTx">
        <pc:chgData name="Daniel Valero" userId="31dd2ff7-9a08-462f-9096-6c487a317220" providerId="ADAL" clId="{35116767-7705-4F31-BB14-507B37DB7D36}" dt="2020-02-28T19:36:31.464" v="379" actId="14100"/>
        <pc:sldMkLst>
          <pc:docMk/>
          <pc:sldMk cId="3735096506" sldId="563"/>
        </pc:sldMkLst>
        <pc:graphicFrameChg chg="mod">
          <ac:chgData name="Daniel Valero" userId="31dd2ff7-9a08-462f-9096-6c487a317220" providerId="ADAL" clId="{35116767-7705-4F31-BB14-507B37DB7D36}" dt="2020-02-28T19:36:31.464" v="379" actId="14100"/>
          <ac:graphicFrameMkLst>
            <pc:docMk/>
            <pc:sldMk cId="3735096506" sldId="563"/>
            <ac:graphicFrameMk id="3" creationId="{9484E1FE-7534-495E-863C-657A46F5E628}"/>
          </ac:graphicFrameMkLst>
        </pc:graphicFrameChg>
      </pc:sldChg>
      <pc:sldChg chg="modSp modNotesTx">
        <pc:chgData name="Daniel Valero" userId="31dd2ff7-9a08-462f-9096-6c487a317220" providerId="ADAL" clId="{35116767-7705-4F31-BB14-507B37DB7D36}" dt="2020-02-28T20:08:36.409" v="787" actId="20577"/>
        <pc:sldMkLst>
          <pc:docMk/>
          <pc:sldMk cId="2346840044" sldId="570"/>
        </pc:sldMkLst>
        <pc:graphicFrameChg chg="mod">
          <ac:chgData name="Daniel Valero" userId="31dd2ff7-9a08-462f-9096-6c487a317220" providerId="ADAL" clId="{35116767-7705-4F31-BB14-507B37DB7D36}" dt="2020-02-28T20:07:54.925" v="629" actId="255"/>
          <ac:graphicFrameMkLst>
            <pc:docMk/>
            <pc:sldMk cId="2346840044" sldId="570"/>
            <ac:graphicFrameMk id="3" creationId="{9484E1FE-7534-495E-863C-657A46F5E628}"/>
          </ac:graphicFrameMkLst>
        </pc:graphicFrameChg>
      </pc:sldChg>
      <pc:sldChg chg="modSp mod modNotesTx">
        <pc:chgData name="Daniel Valero" userId="31dd2ff7-9a08-462f-9096-6c487a317220" providerId="ADAL" clId="{35116767-7705-4F31-BB14-507B37DB7D36}" dt="2020-02-28T14:43:58.483" v="139" actId="790"/>
        <pc:sldMkLst>
          <pc:docMk/>
          <pc:sldMk cId="1487953619" sldId="574"/>
        </pc:sldMkLst>
        <pc:spChg chg="mod">
          <ac:chgData name="Daniel Valero" userId="31dd2ff7-9a08-462f-9096-6c487a317220" providerId="ADAL" clId="{35116767-7705-4F31-BB14-507B37DB7D36}" dt="2020-02-28T14:43:58.483" v="139" actId="790"/>
          <ac:spMkLst>
            <pc:docMk/>
            <pc:sldMk cId="1487953619" sldId="574"/>
            <ac:spMk id="3" creationId="{8F64A22E-2B43-4FC6-AF08-0CDB3F9E9269}"/>
          </ac:spMkLst>
        </pc:spChg>
        <pc:spChg chg="mod">
          <ac:chgData name="Daniel Valero" userId="31dd2ff7-9a08-462f-9096-6c487a317220" providerId="ADAL" clId="{35116767-7705-4F31-BB14-507B37DB7D36}" dt="2020-02-28T14:43:58.483" v="139" actId="790"/>
          <ac:spMkLst>
            <pc:docMk/>
            <pc:sldMk cId="1487953619" sldId="574"/>
            <ac:spMk id="6" creationId="{637E159C-9ACF-48AE-927A-D5FB13695C7F}"/>
          </ac:spMkLst>
        </pc:spChg>
      </pc:sldChg>
      <pc:sldChg chg="modSp mod modNotesTx">
        <pc:chgData name="Daniel Valero" userId="31dd2ff7-9a08-462f-9096-6c487a317220" providerId="ADAL" clId="{35116767-7705-4F31-BB14-507B37DB7D36}" dt="2020-02-28T19:39:46.438" v="466" actId="12"/>
        <pc:sldMkLst>
          <pc:docMk/>
          <pc:sldMk cId="508126509" sldId="618"/>
        </pc:sldMkLst>
        <pc:spChg chg="mod">
          <ac:chgData name="Daniel Valero" userId="31dd2ff7-9a08-462f-9096-6c487a317220" providerId="ADAL" clId="{35116767-7705-4F31-BB14-507B37DB7D36}" dt="2020-02-28T19:38:28.331" v="394" actId="20577"/>
          <ac:spMkLst>
            <pc:docMk/>
            <pc:sldMk cId="508126509" sldId="618"/>
            <ac:spMk id="5" creationId="{35622013-AD39-49E7-86B3-948ECEC8BF96}"/>
          </ac:spMkLst>
        </pc:spChg>
      </pc:sldChg>
      <pc:sldChg chg="addSp delSp modSp add mod modAnim modNotesTx">
        <pc:chgData name="Daniel Valero" userId="31dd2ff7-9a08-462f-9096-6c487a317220" providerId="ADAL" clId="{35116767-7705-4F31-BB14-507B37DB7D36}" dt="2020-02-28T14:50:17.951" v="221" actId="1076"/>
        <pc:sldMkLst>
          <pc:docMk/>
          <pc:sldMk cId="533282277" sldId="643"/>
        </pc:sldMkLst>
        <pc:spChg chg="mod">
          <ac:chgData name="Daniel Valero" userId="31dd2ff7-9a08-462f-9096-6c487a317220" providerId="ADAL" clId="{35116767-7705-4F31-BB14-507B37DB7D36}" dt="2020-02-28T14:45:25.088" v="157" actId="20577"/>
          <ac:spMkLst>
            <pc:docMk/>
            <pc:sldMk cId="533282277" sldId="643"/>
            <ac:spMk id="2" creationId="{EB67312A-9819-43C6-8D84-D9136E6CFFCC}"/>
          </ac:spMkLst>
        </pc:spChg>
        <pc:spChg chg="mod">
          <ac:chgData name="Daniel Valero" userId="31dd2ff7-9a08-462f-9096-6c487a317220" providerId="ADAL" clId="{35116767-7705-4F31-BB14-507B37DB7D36}" dt="2020-02-28T14:45:27.425" v="158" actId="20577"/>
          <ac:spMkLst>
            <pc:docMk/>
            <pc:sldMk cId="533282277" sldId="643"/>
            <ac:spMk id="3" creationId="{F35E8CBB-5A7D-4DEF-BAF7-8DD5D042F9E0}"/>
          </ac:spMkLst>
        </pc:spChg>
        <pc:spChg chg="del">
          <ac:chgData name="Daniel Valero" userId="31dd2ff7-9a08-462f-9096-6c487a317220" providerId="ADAL" clId="{35116767-7705-4F31-BB14-507B37DB7D36}" dt="2020-02-28T14:48:13.623" v="183" actId="478"/>
          <ac:spMkLst>
            <pc:docMk/>
            <pc:sldMk cId="533282277" sldId="643"/>
            <ac:spMk id="10" creationId="{D849FBAA-B952-4A0E-B335-4DA7E8810E6F}"/>
          </ac:spMkLst>
        </pc:spChg>
        <pc:spChg chg="mod">
          <ac:chgData name="Daniel Valero" userId="31dd2ff7-9a08-462f-9096-6c487a317220" providerId="ADAL" clId="{35116767-7705-4F31-BB14-507B37DB7D36}" dt="2020-02-28T14:50:02.037" v="215" actId="14100"/>
          <ac:spMkLst>
            <pc:docMk/>
            <pc:sldMk cId="533282277" sldId="643"/>
            <ac:spMk id="25" creationId="{A0CA769B-4521-40FE-9E23-E3CEDE217E0A}"/>
          </ac:spMkLst>
        </pc:spChg>
        <pc:spChg chg="del">
          <ac:chgData name="Daniel Valero" userId="31dd2ff7-9a08-462f-9096-6c487a317220" providerId="ADAL" clId="{35116767-7705-4F31-BB14-507B37DB7D36}" dt="2020-02-28T14:48:19.613" v="191" actId="478"/>
          <ac:spMkLst>
            <pc:docMk/>
            <pc:sldMk cId="533282277" sldId="643"/>
            <ac:spMk id="1055" creationId="{F00B3A03-6130-420C-B95C-E2AD40F5E487}"/>
          </ac:spMkLst>
        </pc:spChg>
        <pc:spChg chg="del">
          <ac:chgData name="Daniel Valero" userId="31dd2ff7-9a08-462f-9096-6c487a317220" providerId="ADAL" clId="{35116767-7705-4F31-BB14-507B37DB7D36}" dt="2020-02-28T14:48:18.877" v="189" actId="478"/>
          <ac:spMkLst>
            <pc:docMk/>
            <pc:sldMk cId="533282277" sldId="643"/>
            <ac:spMk id="1056" creationId="{32E46FD3-AEBB-451F-B31A-508292D09197}"/>
          </ac:spMkLst>
        </pc:spChg>
        <pc:spChg chg="del">
          <ac:chgData name="Daniel Valero" userId="31dd2ff7-9a08-462f-9096-6c487a317220" providerId="ADAL" clId="{35116767-7705-4F31-BB14-507B37DB7D36}" dt="2020-02-28T14:48:18.518" v="188" actId="478"/>
          <ac:spMkLst>
            <pc:docMk/>
            <pc:sldMk cId="533282277" sldId="643"/>
            <ac:spMk id="1057" creationId="{80896FA8-D6C4-436E-B7DC-E236FA2CA3AB}"/>
          </ac:spMkLst>
        </pc:spChg>
        <pc:spChg chg="del">
          <ac:chgData name="Daniel Valero" userId="31dd2ff7-9a08-462f-9096-6c487a317220" providerId="ADAL" clId="{35116767-7705-4F31-BB14-507B37DB7D36}" dt="2020-02-28T14:46:49.096" v="173" actId="478"/>
          <ac:spMkLst>
            <pc:docMk/>
            <pc:sldMk cId="533282277" sldId="643"/>
            <ac:spMk id="1058" creationId="{651C1716-2898-4C8D-809E-3633C37CBAA6}"/>
          </ac:spMkLst>
        </pc:spChg>
        <pc:spChg chg="del">
          <ac:chgData name="Daniel Valero" userId="31dd2ff7-9a08-462f-9096-6c487a317220" providerId="ADAL" clId="{35116767-7705-4F31-BB14-507B37DB7D36}" dt="2020-02-28T14:48:22.618" v="194" actId="478"/>
          <ac:spMkLst>
            <pc:docMk/>
            <pc:sldMk cId="533282277" sldId="643"/>
            <ac:spMk id="1060" creationId="{B9491C04-1F4A-4CCB-81EE-2626D51D0BFF}"/>
          </ac:spMkLst>
        </pc:spChg>
        <pc:spChg chg="del">
          <ac:chgData name="Daniel Valero" userId="31dd2ff7-9a08-462f-9096-6c487a317220" providerId="ADAL" clId="{35116767-7705-4F31-BB14-507B37DB7D36}" dt="2020-02-28T14:48:18.070" v="187" actId="478"/>
          <ac:spMkLst>
            <pc:docMk/>
            <pc:sldMk cId="533282277" sldId="643"/>
            <ac:spMk id="1062" creationId="{05416D1B-2264-432B-AD93-76355231569A}"/>
          </ac:spMkLst>
        </pc:spChg>
        <pc:spChg chg="del">
          <ac:chgData name="Daniel Valero" userId="31dd2ff7-9a08-462f-9096-6c487a317220" providerId="ADAL" clId="{35116767-7705-4F31-BB14-507B37DB7D36}" dt="2020-02-28T14:48:19.372" v="190" actId="478"/>
          <ac:spMkLst>
            <pc:docMk/>
            <pc:sldMk cId="533282277" sldId="643"/>
            <ac:spMk id="1063" creationId="{11F61184-85FF-486F-9471-F3E11BB00AC4}"/>
          </ac:spMkLst>
        </pc:spChg>
        <pc:spChg chg="del">
          <ac:chgData name="Daniel Valero" userId="31dd2ff7-9a08-462f-9096-6c487a317220" providerId="ADAL" clId="{35116767-7705-4F31-BB14-507B37DB7D36}" dt="2020-02-28T14:48:20.678" v="192" actId="478"/>
          <ac:spMkLst>
            <pc:docMk/>
            <pc:sldMk cId="533282277" sldId="643"/>
            <ac:spMk id="1065" creationId="{66DA1F2C-F0DC-49DC-95EE-111831E6B2A4}"/>
          </ac:spMkLst>
        </pc:spChg>
        <pc:spChg chg="del">
          <ac:chgData name="Daniel Valero" userId="31dd2ff7-9a08-462f-9096-6c487a317220" providerId="ADAL" clId="{35116767-7705-4F31-BB14-507B37DB7D36}" dt="2020-02-28T14:46:51.691" v="176" actId="478"/>
          <ac:spMkLst>
            <pc:docMk/>
            <pc:sldMk cId="533282277" sldId="643"/>
            <ac:spMk id="1066" creationId="{B567DE95-DB63-4767-8668-9E41C671A800}"/>
          </ac:spMkLst>
        </pc:spChg>
        <pc:spChg chg="del">
          <ac:chgData name="Daniel Valero" userId="31dd2ff7-9a08-462f-9096-6c487a317220" providerId="ADAL" clId="{35116767-7705-4F31-BB14-507B37DB7D36}" dt="2020-02-28T14:48:05.030" v="178" actId="478"/>
          <ac:spMkLst>
            <pc:docMk/>
            <pc:sldMk cId="533282277" sldId="643"/>
            <ac:spMk id="1067" creationId="{43CC88CF-D64A-4A07-9EE3-90438E7775FD}"/>
          </ac:spMkLst>
        </pc:spChg>
        <pc:spChg chg="del">
          <ac:chgData name="Daniel Valero" userId="31dd2ff7-9a08-462f-9096-6c487a317220" providerId="ADAL" clId="{35116767-7705-4F31-BB14-507B37DB7D36}" dt="2020-02-28T14:48:06.519" v="179" actId="478"/>
          <ac:spMkLst>
            <pc:docMk/>
            <pc:sldMk cId="533282277" sldId="643"/>
            <ac:spMk id="1068" creationId="{89CE7CC7-EABB-44B2-99FF-27EAE13600CB}"/>
          </ac:spMkLst>
        </pc:spChg>
        <pc:spChg chg="del">
          <ac:chgData name="Daniel Valero" userId="31dd2ff7-9a08-462f-9096-6c487a317220" providerId="ADAL" clId="{35116767-7705-4F31-BB14-507B37DB7D36}" dt="2020-02-28T14:46:51.229" v="175" actId="478"/>
          <ac:spMkLst>
            <pc:docMk/>
            <pc:sldMk cId="533282277" sldId="643"/>
            <ac:spMk id="1069" creationId="{C33B339F-6ABA-4A41-B84A-B44B7046FED8}"/>
          </ac:spMkLst>
        </pc:spChg>
        <pc:spChg chg="del">
          <ac:chgData name="Daniel Valero" userId="31dd2ff7-9a08-462f-9096-6c487a317220" providerId="ADAL" clId="{35116767-7705-4F31-BB14-507B37DB7D36}" dt="2020-02-28T14:48:21.588" v="193" actId="478"/>
          <ac:spMkLst>
            <pc:docMk/>
            <pc:sldMk cId="533282277" sldId="643"/>
            <ac:spMk id="1070" creationId="{A3DBEDC2-9F27-4612-BA61-675E12E5E64B}"/>
          </ac:spMkLst>
        </pc:spChg>
        <pc:spChg chg="del">
          <ac:chgData name="Daniel Valero" userId="31dd2ff7-9a08-462f-9096-6c487a317220" providerId="ADAL" clId="{35116767-7705-4F31-BB14-507B37DB7D36}" dt="2020-02-28T14:46:49.949" v="174" actId="478"/>
          <ac:spMkLst>
            <pc:docMk/>
            <pc:sldMk cId="533282277" sldId="643"/>
            <ac:spMk id="1071" creationId="{00CF231B-E9E0-4606-913A-CACE13970F8A}"/>
          </ac:spMkLst>
        </pc:spChg>
        <pc:spChg chg="del">
          <ac:chgData name="Daniel Valero" userId="31dd2ff7-9a08-462f-9096-6c487a317220" providerId="ADAL" clId="{35116767-7705-4F31-BB14-507B37DB7D36}" dt="2020-02-28T14:46:52.022" v="177" actId="478"/>
          <ac:spMkLst>
            <pc:docMk/>
            <pc:sldMk cId="533282277" sldId="643"/>
            <ac:spMk id="1072" creationId="{4B265A51-F1E7-4287-A936-7888AB378AE0}"/>
          </ac:spMkLst>
        </pc:spChg>
        <pc:spChg chg="del">
          <ac:chgData name="Daniel Valero" userId="31dd2ff7-9a08-462f-9096-6c487a317220" providerId="ADAL" clId="{35116767-7705-4F31-BB14-507B37DB7D36}" dt="2020-02-28T14:48:13.198" v="182" actId="478"/>
          <ac:spMkLst>
            <pc:docMk/>
            <pc:sldMk cId="533282277" sldId="643"/>
            <ac:spMk id="1075" creationId="{64FFB558-7E58-4C0C-A880-31FEE00A7443}"/>
          </ac:spMkLst>
        </pc:spChg>
        <pc:spChg chg="del">
          <ac:chgData name="Daniel Valero" userId="31dd2ff7-9a08-462f-9096-6c487a317220" providerId="ADAL" clId="{35116767-7705-4F31-BB14-507B37DB7D36}" dt="2020-02-28T14:48:12.799" v="181" actId="478"/>
          <ac:spMkLst>
            <pc:docMk/>
            <pc:sldMk cId="533282277" sldId="643"/>
            <ac:spMk id="1076" creationId="{93C5E27E-568B-4BDE-86D7-D1C1DDDC1B70}"/>
          </ac:spMkLst>
        </pc:spChg>
        <pc:spChg chg="del">
          <ac:chgData name="Daniel Valero" userId="31dd2ff7-9a08-462f-9096-6c487a317220" providerId="ADAL" clId="{35116767-7705-4F31-BB14-507B37DB7D36}" dt="2020-02-28T14:48:17.062" v="186" actId="478"/>
          <ac:spMkLst>
            <pc:docMk/>
            <pc:sldMk cId="533282277" sldId="643"/>
            <ac:spMk id="1077" creationId="{BE19056B-DD43-4013-BC94-ADC8016BAA48}"/>
          </ac:spMkLst>
        </pc:spChg>
        <pc:spChg chg="mod">
          <ac:chgData name="Daniel Valero" userId="31dd2ff7-9a08-462f-9096-6c487a317220" providerId="ADAL" clId="{35116767-7705-4F31-BB14-507B37DB7D36}" dt="2020-02-28T14:48:36.598" v="199" actId="1076"/>
          <ac:spMkLst>
            <pc:docMk/>
            <pc:sldMk cId="533282277" sldId="643"/>
            <ac:spMk id="1079" creationId="{3AA6775D-D966-4811-97C4-C2907A46E4AA}"/>
          </ac:spMkLst>
        </pc:spChg>
        <pc:spChg chg="add del mod">
          <ac:chgData name="Daniel Valero" userId="31dd2ff7-9a08-462f-9096-6c487a317220" providerId="ADAL" clId="{35116767-7705-4F31-BB14-507B37DB7D36}" dt="2020-02-28T14:48:36.598" v="199" actId="1076"/>
          <ac:spMkLst>
            <pc:docMk/>
            <pc:sldMk cId="533282277" sldId="643"/>
            <ac:spMk id="1080" creationId="{AFB09A86-7005-4A9B-B777-AB86C330EDEE}"/>
          </ac:spMkLst>
        </pc:spChg>
        <pc:spChg chg="mod">
          <ac:chgData name="Daniel Valero" userId="31dd2ff7-9a08-462f-9096-6c487a317220" providerId="ADAL" clId="{35116767-7705-4F31-BB14-507B37DB7D36}" dt="2020-02-28T14:48:36.598" v="199" actId="1076"/>
          <ac:spMkLst>
            <pc:docMk/>
            <pc:sldMk cId="533282277" sldId="643"/>
            <ac:spMk id="1081" creationId="{41795F5C-520F-4868-8BD9-A6CB8DF88D1C}"/>
          </ac:spMkLst>
        </pc:spChg>
        <pc:spChg chg="mod">
          <ac:chgData name="Daniel Valero" userId="31dd2ff7-9a08-462f-9096-6c487a317220" providerId="ADAL" clId="{35116767-7705-4F31-BB14-507B37DB7D36}" dt="2020-02-28T14:48:45.751" v="201" actId="1076"/>
          <ac:spMkLst>
            <pc:docMk/>
            <pc:sldMk cId="533282277" sldId="643"/>
            <ac:spMk id="1082" creationId="{570D5F95-377A-4854-B247-BFED16C17369}"/>
          </ac:spMkLst>
        </pc:spChg>
        <pc:spChg chg="mod">
          <ac:chgData name="Daniel Valero" userId="31dd2ff7-9a08-462f-9096-6c487a317220" providerId="ADAL" clId="{35116767-7705-4F31-BB14-507B37DB7D36}" dt="2020-02-28T14:48:50.608" v="202" actId="1076"/>
          <ac:spMkLst>
            <pc:docMk/>
            <pc:sldMk cId="533282277" sldId="643"/>
            <ac:spMk id="1083" creationId="{6F28D06C-6DC7-4084-BA23-5CB005D68DB3}"/>
          </ac:spMkLst>
        </pc:spChg>
        <pc:spChg chg="mod">
          <ac:chgData name="Daniel Valero" userId="31dd2ff7-9a08-462f-9096-6c487a317220" providerId="ADAL" clId="{35116767-7705-4F31-BB14-507B37DB7D36}" dt="2020-02-28T14:48:36.598" v="199" actId="1076"/>
          <ac:spMkLst>
            <pc:docMk/>
            <pc:sldMk cId="533282277" sldId="643"/>
            <ac:spMk id="1100" creationId="{112213A1-4F00-40E7-9C45-9DAAA13599BB}"/>
          </ac:spMkLst>
        </pc:spChg>
        <pc:spChg chg="mod">
          <ac:chgData name="Daniel Valero" userId="31dd2ff7-9a08-462f-9096-6c487a317220" providerId="ADAL" clId="{35116767-7705-4F31-BB14-507B37DB7D36}" dt="2020-02-28T14:49:08.870" v="204" actId="1076"/>
          <ac:spMkLst>
            <pc:docMk/>
            <pc:sldMk cId="533282277" sldId="643"/>
            <ac:spMk id="1101" creationId="{4C55F0EB-37C4-4303-B324-E5AFCC48B728}"/>
          </ac:spMkLst>
        </pc:spChg>
        <pc:spChg chg="mod">
          <ac:chgData name="Daniel Valero" userId="31dd2ff7-9a08-462f-9096-6c487a317220" providerId="ADAL" clId="{35116767-7705-4F31-BB14-507B37DB7D36}" dt="2020-02-28T14:48:36.598" v="199" actId="1076"/>
          <ac:spMkLst>
            <pc:docMk/>
            <pc:sldMk cId="533282277" sldId="643"/>
            <ac:spMk id="1102" creationId="{FB86E5D5-B0AC-44E2-84E1-DEB8EA0C9010}"/>
          </ac:spMkLst>
        </pc:spChg>
        <pc:spChg chg="mod">
          <ac:chgData name="Daniel Valero" userId="31dd2ff7-9a08-462f-9096-6c487a317220" providerId="ADAL" clId="{35116767-7705-4F31-BB14-507B37DB7D36}" dt="2020-02-28T14:48:36.598" v="199" actId="1076"/>
          <ac:spMkLst>
            <pc:docMk/>
            <pc:sldMk cId="533282277" sldId="643"/>
            <ac:spMk id="1103" creationId="{73D04621-C0F1-4D29-90B5-2A5FE1631DD4}"/>
          </ac:spMkLst>
        </pc:spChg>
        <pc:grpChg chg="del mod">
          <ac:chgData name="Daniel Valero" userId="31dd2ff7-9a08-462f-9096-6c487a317220" providerId="ADAL" clId="{35116767-7705-4F31-BB14-507B37DB7D36}" dt="2020-02-28T14:49:34.382" v="205" actId="478"/>
          <ac:grpSpMkLst>
            <pc:docMk/>
            <pc:sldMk cId="533282277" sldId="643"/>
            <ac:grpSpMk id="4" creationId="{6F6641C8-238E-4FF6-8C29-EF67968099DE}"/>
          </ac:grpSpMkLst>
        </pc:grpChg>
        <pc:grpChg chg="del">
          <ac:chgData name="Daniel Valero" userId="31dd2ff7-9a08-462f-9096-6c487a317220" providerId="ADAL" clId="{35116767-7705-4F31-BB14-507B37DB7D36}" dt="2020-02-28T14:45:29.580" v="159" actId="478"/>
          <ac:grpSpMkLst>
            <pc:docMk/>
            <pc:sldMk cId="533282277" sldId="643"/>
            <ac:grpSpMk id="5" creationId="{F0F7112D-E24F-4DBA-868D-469D58FB6FF7}"/>
          </ac:grpSpMkLst>
        </pc:grpChg>
        <pc:grpChg chg="del">
          <ac:chgData name="Daniel Valero" userId="31dd2ff7-9a08-462f-9096-6c487a317220" providerId="ADAL" clId="{35116767-7705-4F31-BB14-507B37DB7D36}" dt="2020-02-28T14:45:29.580" v="159" actId="478"/>
          <ac:grpSpMkLst>
            <pc:docMk/>
            <pc:sldMk cId="533282277" sldId="643"/>
            <ac:grpSpMk id="6" creationId="{CB3B7B55-5EE0-4DF8-A73E-B16A3A8389DF}"/>
          </ac:grpSpMkLst>
        </pc:grpChg>
        <pc:grpChg chg="del">
          <ac:chgData name="Daniel Valero" userId="31dd2ff7-9a08-462f-9096-6c487a317220" providerId="ADAL" clId="{35116767-7705-4F31-BB14-507B37DB7D36}" dt="2020-02-28T14:45:29.580" v="159" actId="478"/>
          <ac:grpSpMkLst>
            <pc:docMk/>
            <pc:sldMk cId="533282277" sldId="643"/>
            <ac:grpSpMk id="7" creationId="{8ED64774-DC35-43D4-8EFB-E164F814D55D}"/>
          </ac:grpSpMkLst>
        </pc:grpChg>
        <pc:grpChg chg="del">
          <ac:chgData name="Daniel Valero" userId="31dd2ff7-9a08-462f-9096-6c487a317220" providerId="ADAL" clId="{35116767-7705-4F31-BB14-507B37DB7D36}" dt="2020-02-28T14:45:29.580" v="159" actId="478"/>
          <ac:grpSpMkLst>
            <pc:docMk/>
            <pc:sldMk cId="533282277" sldId="643"/>
            <ac:grpSpMk id="8" creationId="{6AF95612-581F-407E-9087-9BB8A0426C40}"/>
          </ac:grpSpMkLst>
        </pc:grpChg>
        <pc:grpChg chg="del">
          <ac:chgData name="Daniel Valero" userId="31dd2ff7-9a08-462f-9096-6c487a317220" providerId="ADAL" clId="{35116767-7705-4F31-BB14-507B37DB7D36}" dt="2020-02-28T14:45:29.580" v="159" actId="478"/>
          <ac:grpSpMkLst>
            <pc:docMk/>
            <pc:sldMk cId="533282277" sldId="643"/>
            <ac:grpSpMk id="9" creationId="{267C3E52-AD07-43A7-982B-271DF45D09BA}"/>
          </ac:grpSpMkLst>
        </pc:grpChg>
        <pc:grpChg chg="del">
          <ac:chgData name="Daniel Valero" userId="31dd2ff7-9a08-462f-9096-6c487a317220" providerId="ADAL" clId="{35116767-7705-4F31-BB14-507B37DB7D36}" dt="2020-02-28T14:45:29.580" v="159" actId="478"/>
          <ac:grpSpMkLst>
            <pc:docMk/>
            <pc:sldMk cId="533282277" sldId="643"/>
            <ac:grpSpMk id="12" creationId="{C411CC39-74E5-4A7E-B112-4EC0D85D1F2F}"/>
          </ac:grpSpMkLst>
        </pc:grpChg>
        <pc:grpChg chg="del">
          <ac:chgData name="Daniel Valero" userId="31dd2ff7-9a08-462f-9096-6c487a317220" providerId="ADAL" clId="{35116767-7705-4F31-BB14-507B37DB7D36}" dt="2020-02-28T14:45:29.580" v="159" actId="478"/>
          <ac:grpSpMkLst>
            <pc:docMk/>
            <pc:sldMk cId="533282277" sldId="643"/>
            <ac:grpSpMk id="19" creationId="{1EDC6FEC-D99A-4BA5-AB1F-9D39AEA57B40}"/>
          </ac:grpSpMkLst>
        </pc:grpChg>
        <pc:grpChg chg="del">
          <ac:chgData name="Daniel Valero" userId="31dd2ff7-9a08-462f-9096-6c487a317220" providerId="ADAL" clId="{35116767-7705-4F31-BB14-507B37DB7D36}" dt="2020-02-28T14:45:29.580" v="159" actId="478"/>
          <ac:grpSpMkLst>
            <pc:docMk/>
            <pc:sldMk cId="533282277" sldId="643"/>
            <ac:grpSpMk id="21" creationId="{6CF57884-447D-4649-989B-ECF9230514EA}"/>
          </ac:grpSpMkLst>
        </pc:grpChg>
        <pc:grpChg chg="del">
          <ac:chgData name="Daniel Valero" userId="31dd2ff7-9a08-462f-9096-6c487a317220" providerId="ADAL" clId="{35116767-7705-4F31-BB14-507B37DB7D36}" dt="2020-02-28T14:45:29.580" v="159" actId="478"/>
          <ac:grpSpMkLst>
            <pc:docMk/>
            <pc:sldMk cId="533282277" sldId="643"/>
            <ac:grpSpMk id="23" creationId="{3F9E4E81-2B8D-4177-8648-201099D80467}"/>
          </ac:grpSpMkLst>
        </pc:grpChg>
        <pc:grpChg chg="del">
          <ac:chgData name="Daniel Valero" userId="31dd2ff7-9a08-462f-9096-6c487a317220" providerId="ADAL" clId="{35116767-7705-4F31-BB14-507B37DB7D36}" dt="2020-02-28T14:45:29.580" v="159" actId="478"/>
          <ac:grpSpMkLst>
            <pc:docMk/>
            <pc:sldMk cId="533282277" sldId="643"/>
            <ac:grpSpMk id="24" creationId="{88485792-F2D9-461E-AA27-50A159161417}"/>
          </ac:grpSpMkLst>
        </pc:grpChg>
        <pc:grpChg chg="del">
          <ac:chgData name="Daniel Valero" userId="31dd2ff7-9a08-462f-9096-6c487a317220" providerId="ADAL" clId="{35116767-7705-4F31-BB14-507B37DB7D36}" dt="2020-02-28T14:45:29.580" v="159" actId="478"/>
          <ac:grpSpMkLst>
            <pc:docMk/>
            <pc:sldMk cId="533282277" sldId="643"/>
            <ac:grpSpMk id="26" creationId="{D6472D49-011D-4162-8EEB-A9AC9FDD76A7}"/>
          </ac:grpSpMkLst>
        </pc:grpChg>
        <pc:grpChg chg="del">
          <ac:chgData name="Daniel Valero" userId="31dd2ff7-9a08-462f-9096-6c487a317220" providerId="ADAL" clId="{35116767-7705-4F31-BB14-507B37DB7D36}" dt="2020-02-28T14:45:29.580" v="159" actId="478"/>
          <ac:grpSpMkLst>
            <pc:docMk/>
            <pc:sldMk cId="533282277" sldId="643"/>
            <ac:grpSpMk id="30" creationId="{9EDF4A98-445D-4F83-9960-16985F28727D}"/>
          </ac:grpSpMkLst>
        </pc:grpChg>
        <pc:picChg chg="add del mod">
          <ac:chgData name="Daniel Valero" userId="31dd2ff7-9a08-462f-9096-6c487a317220" providerId="ADAL" clId="{35116767-7705-4F31-BB14-507B37DB7D36}" dt="2020-02-28T14:46:44.131" v="172" actId="338"/>
          <ac:picMkLst>
            <pc:docMk/>
            <pc:sldMk cId="533282277" sldId="643"/>
            <ac:picMk id="41" creationId="{96A8CE90-2AF0-484E-A0C9-524B65CBA02F}"/>
          </ac:picMkLst>
        </pc:picChg>
        <pc:picChg chg="add mod modCrop">
          <ac:chgData name="Daniel Valero" userId="31dd2ff7-9a08-462f-9096-6c487a317220" providerId="ADAL" clId="{35116767-7705-4F31-BB14-507B37DB7D36}" dt="2020-02-28T14:50:17.951" v="221" actId="1076"/>
          <ac:picMkLst>
            <pc:docMk/>
            <pc:sldMk cId="533282277" sldId="643"/>
            <ac:picMk id="146" creationId="{DCDC4352-0985-424C-A624-189A317CDABE}"/>
          </ac:picMkLst>
        </pc:picChg>
      </pc:sldChg>
    </pc:docChg>
  </pc:docChgLst>
  <pc:docChgLst>
    <pc:chgData name="Steve Hord" userId="7478402321db30a2" providerId="LiveId" clId="{9F0232C1-7AC5-4875-B63C-538748ED1973}"/>
    <pc:docChg chg="undo modSld">
      <pc:chgData name="Steve Hord" userId="7478402321db30a2" providerId="LiveId" clId="{9F0232C1-7AC5-4875-B63C-538748ED1973}" dt="2020-04-21T21:42:18.933" v="200" actId="20577"/>
      <pc:docMkLst>
        <pc:docMk/>
      </pc:docMkLst>
      <pc:sldChg chg="modSp modNotesTx">
        <pc:chgData name="Steve Hord" userId="7478402321db30a2" providerId="LiveId" clId="{9F0232C1-7AC5-4875-B63C-538748ED1973}" dt="2020-04-21T18:10:08.701" v="10" actId="20577"/>
        <pc:sldMkLst>
          <pc:docMk/>
          <pc:sldMk cId="3235270007" sldId="257"/>
        </pc:sldMkLst>
        <pc:graphicFrameChg chg="mod">
          <ac:chgData name="Steve Hord" userId="7478402321db30a2" providerId="LiveId" clId="{9F0232C1-7AC5-4875-B63C-538748ED1973}" dt="2020-04-21T17:38:43.605" v="7" actId="255"/>
          <ac:graphicFrameMkLst>
            <pc:docMk/>
            <pc:sldMk cId="3235270007" sldId="257"/>
            <ac:graphicFrameMk id="10" creationId="{2E361A70-62E8-4C24-8093-F2EEBBF0058D}"/>
          </ac:graphicFrameMkLst>
        </pc:graphicFrameChg>
      </pc:sldChg>
      <pc:sldChg chg="modNotesTx">
        <pc:chgData name="Steve Hord" userId="7478402321db30a2" providerId="LiveId" clId="{9F0232C1-7AC5-4875-B63C-538748ED1973}" dt="2020-04-21T19:07:38.108" v="40" actId="114"/>
        <pc:sldMkLst>
          <pc:docMk/>
          <pc:sldMk cId="4267675391" sldId="531"/>
        </pc:sldMkLst>
      </pc:sldChg>
      <pc:sldChg chg="modSp">
        <pc:chgData name="Steve Hord" userId="7478402321db30a2" providerId="LiveId" clId="{9F0232C1-7AC5-4875-B63C-538748ED1973}" dt="2020-04-21T17:36:26.301" v="2" actId="20577"/>
        <pc:sldMkLst>
          <pc:docMk/>
          <pc:sldMk cId="2621600474" sldId="534"/>
        </pc:sldMkLst>
        <pc:spChg chg="mod">
          <ac:chgData name="Steve Hord" userId="7478402321db30a2" providerId="LiveId" clId="{9F0232C1-7AC5-4875-B63C-538748ED1973}" dt="2020-04-21T17:36:26.301" v="2" actId="20577"/>
          <ac:spMkLst>
            <pc:docMk/>
            <pc:sldMk cId="2621600474" sldId="534"/>
            <ac:spMk id="5" creationId="{55182462-DFDF-4D48-A92C-42FD52821C4E}"/>
          </ac:spMkLst>
        </pc:spChg>
      </pc:sldChg>
      <pc:sldChg chg="modSp">
        <pc:chgData name="Steve Hord" userId="7478402321db30a2" providerId="LiveId" clId="{9F0232C1-7AC5-4875-B63C-538748ED1973}" dt="2020-04-21T19:07:53.459" v="41" actId="255"/>
        <pc:sldMkLst>
          <pc:docMk/>
          <pc:sldMk cId="2980146838" sldId="560"/>
        </pc:sldMkLst>
        <pc:spChg chg="mod">
          <ac:chgData name="Steve Hord" userId="7478402321db30a2" providerId="LiveId" clId="{9F0232C1-7AC5-4875-B63C-538748ED1973}" dt="2020-04-21T19:07:53.459" v="41" actId="255"/>
          <ac:spMkLst>
            <pc:docMk/>
            <pc:sldMk cId="2980146838" sldId="560"/>
            <ac:spMk id="2" creationId="{4615BB0C-211A-4A6B-A4FE-D9C725309C49}"/>
          </ac:spMkLst>
        </pc:spChg>
      </pc:sldChg>
      <pc:sldChg chg="modSp modNotesTx">
        <pc:chgData name="Steve Hord" userId="7478402321db30a2" providerId="LiveId" clId="{9F0232C1-7AC5-4875-B63C-538748ED1973}" dt="2020-04-21T19:13:09.875" v="49" actId="20577"/>
        <pc:sldMkLst>
          <pc:docMk/>
          <pc:sldMk cId="3735096506" sldId="563"/>
        </pc:sldMkLst>
        <pc:graphicFrameChg chg="mod">
          <ac:chgData name="Steve Hord" userId="7478402321db30a2" providerId="LiveId" clId="{9F0232C1-7AC5-4875-B63C-538748ED1973}" dt="2020-04-21T19:10:06.540" v="46" actId="20577"/>
          <ac:graphicFrameMkLst>
            <pc:docMk/>
            <pc:sldMk cId="3735096506" sldId="563"/>
            <ac:graphicFrameMk id="3" creationId="{9484E1FE-7534-495E-863C-657A46F5E628}"/>
          </ac:graphicFrameMkLst>
        </pc:graphicFrameChg>
      </pc:sldChg>
      <pc:sldChg chg="modSp">
        <pc:chgData name="Steve Hord" userId="7478402321db30a2" providerId="LiveId" clId="{9F0232C1-7AC5-4875-B63C-538748ED1973}" dt="2020-04-21T19:14:03.760" v="53" actId="20577"/>
        <pc:sldMkLst>
          <pc:docMk/>
          <pc:sldMk cId="2034824179" sldId="565"/>
        </pc:sldMkLst>
        <pc:spChg chg="mod">
          <ac:chgData name="Steve Hord" userId="7478402321db30a2" providerId="LiveId" clId="{9F0232C1-7AC5-4875-B63C-538748ED1973}" dt="2020-04-21T19:14:03.760" v="53" actId="20577"/>
          <ac:spMkLst>
            <pc:docMk/>
            <pc:sldMk cId="2034824179" sldId="565"/>
            <ac:spMk id="5" creationId="{55182462-DFDF-4D48-A92C-42FD52821C4E}"/>
          </ac:spMkLst>
        </pc:spChg>
      </pc:sldChg>
      <pc:sldChg chg="modNotesTx">
        <pc:chgData name="Steve Hord" userId="7478402321db30a2" providerId="LiveId" clId="{9F0232C1-7AC5-4875-B63C-538748ED1973}" dt="2020-04-21T19:51:50.276" v="64" actId="114"/>
        <pc:sldMkLst>
          <pc:docMk/>
          <pc:sldMk cId="670385602" sldId="567"/>
        </pc:sldMkLst>
      </pc:sldChg>
      <pc:sldChg chg="modSp">
        <pc:chgData name="Steve Hord" userId="7478402321db30a2" providerId="LiveId" clId="{9F0232C1-7AC5-4875-B63C-538748ED1973}" dt="2020-04-21T19:52:17.338" v="65" actId="255"/>
        <pc:sldMkLst>
          <pc:docMk/>
          <pc:sldMk cId="1617064737" sldId="569"/>
        </pc:sldMkLst>
        <pc:spChg chg="mod">
          <ac:chgData name="Steve Hord" userId="7478402321db30a2" providerId="LiveId" clId="{9F0232C1-7AC5-4875-B63C-538748ED1973}" dt="2020-04-21T19:52:17.338" v="65" actId="255"/>
          <ac:spMkLst>
            <pc:docMk/>
            <pc:sldMk cId="1617064737" sldId="569"/>
            <ac:spMk id="2" creationId="{4615BB0C-211A-4A6B-A4FE-D9C725309C49}"/>
          </ac:spMkLst>
        </pc:spChg>
      </pc:sldChg>
      <pc:sldChg chg="modSp modNotesTx">
        <pc:chgData name="Steve Hord" userId="7478402321db30a2" providerId="LiveId" clId="{9F0232C1-7AC5-4875-B63C-538748ED1973}" dt="2020-04-21T19:56:00.921" v="81" actId="20577"/>
        <pc:sldMkLst>
          <pc:docMk/>
          <pc:sldMk cId="2346840044" sldId="570"/>
        </pc:sldMkLst>
        <pc:graphicFrameChg chg="mod">
          <ac:chgData name="Steve Hord" userId="7478402321db30a2" providerId="LiveId" clId="{9F0232C1-7AC5-4875-B63C-538748ED1973}" dt="2020-04-21T19:55:29.299" v="79" actId="20577"/>
          <ac:graphicFrameMkLst>
            <pc:docMk/>
            <pc:sldMk cId="2346840044" sldId="570"/>
            <ac:graphicFrameMk id="3" creationId="{9484E1FE-7534-495E-863C-657A46F5E628}"/>
          </ac:graphicFrameMkLst>
        </pc:graphicFrameChg>
      </pc:sldChg>
      <pc:sldChg chg="modSp">
        <pc:chgData name="Steve Hord" userId="7478402321db30a2" providerId="LiveId" clId="{9F0232C1-7AC5-4875-B63C-538748ED1973}" dt="2020-04-21T19:57:47.387" v="84" actId="20577"/>
        <pc:sldMkLst>
          <pc:docMk/>
          <pc:sldMk cId="2314306782" sldId="572"/>
        </pc:sldMkLst>
        <pc:spChg chg="mod">
          <ac:chgData name="Steve Hord" userId="7478402321db30a2" providerId="LiveId" clId="{9F0232C1-7AC5-4875-B63C-538748ED1973}" dt="2020-04-21T19:57:47.387" v="84" actId="20577"/>
          <ac:spMkLst>
            <pc:docMk/>
            <pc:sldMk cId="2314306782" sldId="572"/>
            <ac:spMk id="5" creationId="{55182462-DFDF-4D48-A92C-42FD52821C4E}"/>
          </ac:spMkLst>
        </pc:spChg>
      </pc:sldChg>
      <pc:sldChg chg="modSp modNotesTx">
        <pc:chgData name="Steve Hord" userId="7478402321db30a2" providerId="LiveId" clId="{9F0232C1-7AC5-4875-B63C-538748ED1973}" dt="2020-04-21T20:44:22.123" v="129" actId="114"/>
        <pc:sldMkLst>
          <pc:docMk/>
          <pc:sldMk cId="1487953619" sldId="574"/>
        </pc:sldMkLst>
        <pc:spChg chg="mod">
          <ac:chgData name="Steve Hord" userId="7478402321db30a2" providerId="LiveId" clId="{9F0232C1-7AC5-4875-B63C-538748ED1973}" dt="2020-04-21T20:44:10.227" v="127" actId="20577"/>
          <ac:spMkLst>
            <pc:docMk/>
            <pc:sldMk cId="1487953619" sldId="574"/>
            <ac:spMk id="6" creationId="{637E159C-9ACF-48AE-927A-D5FB13695C7F}"/>
          </ac:spMkLst>
        </pc:spChg>
      </pc:sldChg>
      <pc:sldChg chg="modSp">
        <pc:chgData name="Steve Hord" userId="7478402321db30a2" providerId="LiveId" clId="{9F0232C1-7AC5-4875-B63C-538748ED1973}" dt="2020-04-21T20:45:18.651" v="130" actId="255"/>
        <pc:sldMkLst>
          <pc:docMk/>
          <pc:sldMk cId="1775931326" sldId="576"/>
        </pc:sldMkLst>
        <pc:spChg chg="mod">
          <ac:chgData name="Steve Hord" userId="7478402321db30a2" providerId="LiveId" clId="{9F0232C1-7AC5-4875-B63C-538748ED1973}" dt="2020-04-21T20:45:18.651" v="130" actId="255"/>
          <ac:spMkLst>
            <pc:docMk/>
            <pc:sldMk cId="1775931326" sldId="576"/>
            <ac:spMk id="2" creationId="{4615BB0C-211A-4A6B-A4FE-D9C725309C49}"/>
          </ac:spMkLst>
        </pc:spChg>
      </pc:sldChg>
      <pc:sldChg chg="modSp modNotesTx">
        <pc:chgData name="Steve Hord" userId="7478402321db30a2" providerId="LiveId" clId="{9F0232C1-7AC5-4875-B63C-538748ED1973}" dt="2020-04-21T20:49:46.653" v="140" actId="20577"/>
        <pc:sldMkLst>
          <pc:docMk/>
          <pc:sldMk cId="4206133277" sldId="577"/>
        </pc:sldMkLst>
        <pc:graphicFrameChg chg="mod">
          <ac:chgData name="Steve Hord" userId="7478402321db30a2" providerId="LiveId" clId="{9F0232C1-7AC5-4875-B63C-538748ED1973}" dt="2020-04-21T20:47:10.890" v="136" actId="255"/>
          <ac:graphicFrameMkLst>
            <pc:docMk/>
            <pc:sldMk cId="4206133277" sldId="577"/>
            <ac:graphicFrameMk id="3" creationId="{9484E1FE-7534-495E-863C-657A46F5E628}"/>
          </ac:graphicFrameMkLst>
        </pc:graphicFrameChg>
      </pc:sldChg>
      <pc:sldChg chg="modSp">
        <pc:chgData name="Steve Hord" userId="7478402321db30a2" providerId="LiveId" clId="{9F0232C1-7AC5-4875-B63C-538748ED1973}" dt="2020-04-21T20:50:28.263" v="142" actId="20577"/>
        <pc:sldMkLst>
          <pc:docMk/>
          <pc:sldMk cId="3424530645" sldId="579"/>
        </pc:sldMkLst>
        <pc:spChg chg="mod">
          <ac:chgData name="Steve Hord" userId="7478402321db30a2" providerId="LiveId" clId="{9F0232C1-7AC5-4875-B63C-538748ED1973}" dt="2020-04-21T20:50:28.263" v="142" actId="20577"/>
          <ac:spMkLst>
            <pc:docMk/>
            <pc:sldMk cId="3424530645" sldId="579"/>
            <ac:spMk id="5" creationId="{55182462-DFDF-4D48-A92C-42FD52821C4E}"/>
          </ac:spMkLst>
        </pc:spChg>
      </pc:sldChg>
      <pc:sldChg chg="modNotesTx">
        <pc:chgData name="Steve Hord" userId="7478402321db30a2" providerId="LiveId" clId="{9F0232C1-7AC5-4875-B63C-538748ED1973}" dt="2020-04-21T21:38:02.717" v="189" actId="114"/>
        <pc:sldMkLst>
          <pc:docMk/>
          <pc:sldMk cId="3006523152" sldId="581"/>
        </pc:sldMkLst>
      </pc:sldChg>
      <pc:sldChg chg="modSp">
        <pc:chgData name="Steve Hord" userId="7478402321db30a2" providerId="LiveId" clId="{9F0232C1-7AC5-4875-B63C-538748ED1973}" dt="2020-04-21T21:39:08.329" v="193" actId="1076"/>
        <pc:sldMkLst>
          <pc:docMk/>
          <pc:sldMk cId="1528516655" sldId="582"/>
        </pc:sldMkLst>
        <pc:spChg chg="mod">
          <ac:chgData name="Steve Hord" userId="7478402321db30a2" providerId="LiveId" clId="{9F0232C1-7AC5-4875-B63C-538748ED1973}" dt="2020-04-21T21:39:08.329" v="193" actId="1076"/>
          <ac:spMkLst>
            <pc:docMk/>
            <pc:sldMk cId="1528516655" sldId="582"/>
            <ac:spMk id="3" creationId="{4897B8F8-26DF-42FB-ACB0-59929F1C2344}"/>
          </ac:spMkLst>
        </pc:spChg>
      </pc:sldChg>
      <pc:sldChg chg="modSp">
        <pc:chgData name="Steve Hord" userId="7478402321db30a2" providerId="LiveId" clId="{9F0232C1-7AC5-4875-B63C-538748ED1973}" dt="2020-04-21T21:39:42.759" v="194" actId="255"/>
        <pc:sldMkLst>
          <pc:docMk/>
          <pc:sldMk cId="376975876" sldId="583"/>
        </pc:sldMkLst>
        <pc:spChg chg="mod">
          <ac:chgData name="Steve Hord" userId="7478402321db30a2" providerId="LiveId" clId="{9F0232C1-7AC5-4875-B63C-538748ED1973}" dt="2020-04-21T21:39:42.759" v="194" actId="255"/>
          <ac:spMkLst>
            <pc:docMk/>
            <pc:sldMk cId="376975876" sldId="583"/>
            <ac:spMk id="2" creationId="{4615BB0C-211A-4A6B-A4FE-D9C725309C49}"/>
          </ac:spMkLst>
        </pc:spChg>
      </pc:sldChg>
      <pc:sldChg chg="modSp modNotesTx">
        <pc:chgData name="Steve Hord" userId="7478402321db30a2" providerId="LiveId" clId="{9F0232C1-7AC5-4875-B63C-538748ED1973}" dt="2020-04-21T21:42:18.933" v="200" actId="20577"/>
        <pc:sldMkLst>
          <pc:docMk/>
          <pc:sldMk cId="2444463328" sldId="584"/>
        </pc:sldMkLst>
        <pc:graphicFrameChg chg="mod">
          <ac:chgData name="Steve Hord" userId="7478402321db30a2" providerId="LiveId" clId="{9F0232C1-7AC5-4875-B63C-538748ED1973}" dt="2020-04-21T21:41:18.633" v="199" actId="255"/>
          <ac:graphicFrameMkLst>
            <pc:docMk/>
            <pc:sldMk cId="2444463328" sldId="584"/>
            <ac:graphicFrameMk id="3" creationId="{9484E1FE-7534-495E-863C-657A46F5E628}"/>
          </ac:graphicFrameMkLst>
        </pc:graphicFrameChg>
      </pc:sldChg>
      <pc:sldChg chg="modSp">
        <pc:chgData name="Steve Hord" userId="7478402321db30a2" providerId="LiveId" clId="{9F0232C1-7AC5-4875-B63C-538748ED1973}" dt="2020-04-21T18:20:45.297" v="18" actId="20577"/>
        <pc:sldMkLst>
          <pc:docMk/>
          <pc:sldMk cId="2669391059" sldId="596"/>
        </pc:sldMkLst>
        <pc:graphicFrameChg chg="mod">
          <ac:chgData name="Steve Hord" userId="7478402321db30a2" providerId="LiveId" clId="{9F0232C1-7AC5-4875-B63C-538748ED1973}" dt="2020-04-21T18:20:45.297" v="18" actId="20577"/>
          <ac:graphicFrameMkLst>
            <pc:docMk/>
            <pc:sldMk cId="2669391059" sldId="596"/>
            <ac:graphicFrameMk id="4" creationId="{D437032D-66F5-4217-A6E7-5417D8E385E2}"/>
          </ac:graphicFrameMkLst>
        </pc:graphicFrameChg>
      </pc:sldChg>
      <pc:sldChg chg="modSp">
        <pc:chgData name="Steve Hord" userId="7478402321db30a2" providerId="LiveId" clId="{9F0232C1-7AC5-4875-B63C-538748ED1973}" dt="2020-04-21T18:48:52.185" v="24" actId="20577"/>
        <pc:sldMkLst>
          <pc:docMk/>
          <pc:sldMk cId="200290157" sldId="599"/>
        </pc:sldMkLst>
        <pc:spChg chg="mod">
          <ac:chgData name="Steve Hord" userId="7478402321db30a2" providerId="LiveId" clId="{9F0232C1-7AC5-4875-B63C-538748ED1973}" dt="2020-04-21T18:48:52.185" v="24" actId="20577"/>
          <ac:spMkLst>
            <pc:docMk/>
            <pc:sldMk cId="200290157" sldId="599"/>
            <ac:spMk id="4" creationId="{F3616A99-090F-45E1-9334-58D58B148205}"/>
          </ac:spMkLst>
        </pc:spChg>
      </pc:sldChg>
      <pc:sldChg chg="modSp modNotesTx">
        <pc:chgData name="Steve Hord" userId="7478402321db30a2" providerId="LiveId" clId="{9F0232C1-7AC5-4875-B63C-538748ED1973}" dt="2020-04-21T19:06:20.238" v="39" actId="113"/>
        <pc:sldMkLst>
          <pc:docMk/>
          <pc:sldMk cId="3121385187" sldId="601"/>
        </pc:sldMkLst>
        <pc:spChg chg="mod">
          <ac:chgData name="Steve Hord" userId="7478402321db30a2" providerId="LiveId" clId="{9F0232C1-7AC5-4875-B63C-538748ED1973}" dt="2020-04-21T19:00:43.451" v="36" actId="20577"/>
          <ac:spMkLst>
            <pc:docMk/>
            <pc:sldMk cId="3121385187" sldId="601"/>
            <ac:spMk id="10" creationId="{3A22AD52-9F23-476C-B2F0-713E08695664}"/>
          </ac:spMkLst>
        </pc:spChg>
      </pc:sldChg>
      <pc:sldChg chg="modNotesTx">
        <pc:chgData name="Steve Hord" userId="7478402321db30a2" providerId="LiveId" clId="{9F0232C1-7AC5-4875-B63C-538748ED1973}" dt="2020-04-21T20:05:04.411" v="93" actId="20577"/>
        <pc:sldMkLst>
          <pc:docMk/>
          <pc:sldMk cId="1081358570" sldId="603"/>
        </pc:sldMkLst>
      </pc:sldChg>
      <pc:sldChg chg="modSp modNotesTx">
        <pc:chgData name="Steve Hord" userId="7478402321db30a2" providerId="LiveId" clId="{9F0232C1-7AC5-4875-B63C-538748ED1973}" dt="2020-04-21T20:14:20.115" v="116" actId="114"/>
        <pc:sldMkLst>
          <pc:docMk/>
          <pc:sldMk cId="2735926192" sldId="604"/>
        </pc:sldMkLst>
        <pc:spChg chg="mod">
          <ac:chgData name="Steve Hord" userId="7478402321db30a2" providerId="LiveId" clId="{9F0232C1-7AC5-4875-B63C-538748ED1973}" dt="2020-04-21T20:13:47.265" v="115" actId="20577"/>
          <ac:spMkLst>
            <pc:docMk/>
            <pc:sldMk cId="2735926192" sldId="604"/>
            <ac:spMk id="25" creationId="{A0CA769B-4521-40FE-9E23-E3CEDE217E0A}"/>
          </ac:spMkLst>
        </pc:spChg>
      </pc:sldChg>
      <pc:sldChg chg="modSp">
        <pc:chgData name="Steve Hord" userId="7478402321db30a2" providerId="LiveId" clId="{9F0232C1-7AC5-4875-B63C-538748ED1973}" dt="2020-04-21T20:18:06.978" v="120" actId="2711"/>
        <pc:sldMkLst>
          <pc:docMk/>
          <pc:sldMk cId="451523490" sldId="605"/>
        </pc:sldMkLst>
        <pc:spChg chg="mod">
          <ac:chgData name="Steve Hord" userId="7478402321db30a2" providerId="LiveId" clId="{9F0232C1-7AC5-4875-B63C-538748ED1973}" dt="2020-04-21T20:18:06.978" v="120" actId="2711"/>
          <ac:spMkLst>
            <pc:docMk/>
            <pc:sldMk cId="451523490" sldId="605"/>
            <ac:spMk id="9" creationId="{5CF14BD0-AFDA-488D-BF1F-B83A8143DA2F}"/>
          </ac:spMkLst>
        </pc:spChg>
      </pc:sldChg>
      <pc:sldChg chg="modSp">
        <pc:chgData name="Steve Hord" userId="7478402321db30a2" providerId="LiveId" clId="{9F0232C1-7AC5-4875-B63C-538748ED1973}" dt="2020-04-21T20:00:25.652" v="87" actId="14100"/>
        <pc:sldMkLst>
          <pc:docMk/>
          <pc:sldMk cId="110240023" sldId="607"/>
        </pc:sldMkLst>
        <pc:spChg chg="mod">
          <ac:chgData name="Steve Hord" userId="7478402321db30a2" providerId="LiveId" clId="{9F0232C1-7AC5-4875-B63C-538748ED1973}" dt="2020-04-21T20:00:25.652" v="87" actId="14100"/>
          <ac:spMkLst>
            <pc:docMk/>
            <pc:sldMk cId="110240023" sldId="607"/>
            <ac:spMk id="8" creationId="{05ADF702-00A6-423F-9E00-50860C2E98AC}"/>
          </ac:spMkLst>
        </pc:spChg>
      </pc:sldChg>
      <pc:sldChg chg="modNotesTx">
        <pc:chgData name="Steve Hord" userId="7478402321db30a2" providerId="LiveId" clId="{9F0232C1-7AC5-4875-B63C-538748ED1973}" dt="2020-04-21T20:17:39.401" v="119" actId="114"/>
        <pc:sldMkLst>
          <pc:docMk/>
          <pc:sldMk cId="2357444012" sldId="608"/>
        </pc:sldMkLst>
      </pc:sldChg>
      <pc:sldChg chg="modSp">
        <pc:chgData name="Steve Hord" userId="7478402321db30a2" providerId="LiveId" clId="{9F0232C1-7AC5-4875-B63C-538748ED1973}" dt="2020-04-21T20:23:40.317" v="121" actId="2711"/>
        <pc:sldMkLst>
          <pc:docMk/>
          <pc:sldMk cId="458220930" sldId="610"/>
        </pc:sldMkLst>
        <pc:spChg chg="mod">
          <ac:chgData name="Steve Hord" userId="7478402321db30a2" providerId="LiveId" clId="{9F0232C1-7AC5-4875-B63C-538748ED1973}" dt="2020-04-21T20:23:40.317" v="121" actId="2711"/>
          <ac:spMkLst>
            <pc:docMk/>
            <pc:sldMk cId="458220930" sldId="610"/>
            <ac:spMk id="9" creationId="{942448F0-C472-4D9E-9619-70E2DD1F57B9}"/>
          </ac:spMkLst>
        </pc:spChg>
      </pc:sldChg>
      <pc:sldChg chg="modSp">
        <pc:chgData name="Steve Hord" userId="7478402321db30a2" providerId="LiveId" clId="{9F0232C1-7AC5-4875-B63C-538748ED1973}" dt="2020-04-21T20:34:22.372" v="122" actId="2711"/>
        <pc:sldMkLst>
          <pc:docMk/>
          <pc:sldMk cId="1244209906" sldId="612"/>
        </pc:sldMkLst>
        <pc:spChg chg="mod">
          <ac:chgData name="Steve Hord" userId="7478402321db30a2" providerId="LiveId" clId="{9F0232C1-7AC5-4875-B63C-538748ED1973}" dt="2020-04-21T20:34:22.372" v="122" actId="2711"/>
          <ac:spMkLst>
            <pc:docMk/>
            <pc:sldMk cId="1244209906" sldId="612"/>
            <ac:spMk id="9" creationId="{942448F0-C472-4D9E-9619-70E2DD1F57B9}"/>
          </ac:spMkLst>
        </pc:spChg>
      </pc:sldChg>
      <pc:sldChg chg="modSp">
        <pc:chgData name="Steve Hord" userId="7478402321db30a2" providerId="LiveId" clId="{9F0232C1-7AC5-4875-B63C-538748ED1973}" dt="2020-04-21T20:42:07.053" v="125" actId="20577"/>
        <pc:sldMkLst>
          <pc:docMk/>
          <pc:sldMk cId="3804096970" sldId="615"/>
        </pc:sldMkLst>
        <pc:graphicFrameChg chg="mod">
          <ac:chgData name="Steve Hord" userId="7478402321db30a2" providerId="LiveId" clId="{9F0232C1-7AC5-4875-B63C-538748ED1973}" dt="2020-04-21T20:42:07.053" v="125" actId="20577"/>
          <ac:graphicFrameMkLst>
            <pc:docMk/>
            <pc:sldMk cId="3804096970" sldId="615"/>
            <ac:graphicFrameMk id="5" creationId="{8218AF4A-403D-4A67-87BC-BF0DD8FEB0D5}"/>
          </ac:graphicFrameMkLst>
        </pc:graphicFrameChg>
      </pc:sldChg>
      <pc:sldChg chg="modSp">
        <pc:chgData name="Steve Hord" userId="7478402321db30a2" providerId="LiveId" clId="{9F0232C1-7AC5-4875-B63C-538748ED1973}" dt="2020-04-21T19:14:53.662" v="55" actId="20577"/>
        <pc:sldMkLst>
          <pc:docMk/>
          <pc:sldMk cId="3894491069" sldId="617"/>
        </pc:sldMkLst>
        <pc:graphicFrameChg chg="mod">
          <ac:chgData name="Steve Hord" userId="7478402321db30a2" providerId="LiveId" clId="{9F0232C1-7AC5-4875-B63C-538748ED1973}" dt="2020-04-21T19:14:53.662" v="55" actId="20577"/>
          <ac:graphicFrameMkLst>
            <pc:docMk/>
            <pc:sldMk cId="3894491069" sldId="617"/>
            <ac:graphicFrameMk id="4" creationId="{44ECF381-5A85-4152-A4A2-40DE21A6CB04}"/>
          </ac:graphicFrameMkLst>
        </pc:graphicFrameChg>
      </pc:sldChg>
      <pc:sldChg chg="modSp modNotesTx">
        <pc:chgData name="Steve Hord" userId="7478402321db30a2" providerId="LiveId" clId="{9F0232C1-7AC5-4875-B63C-538748ED1973}" dt="2020-04-21T19:50:10.921" v="62" actId="20577"/>
        <pc:sldMkLst>
          <pc:docMk/>
          <pc:sldMk cId="508126509" sldId="618"/>
        </pc:sldMkLst>
        <pc:graphicFrameChg chg="mod">
          <ac:chgData name="Steve Hord" userId="7478402321db30a2" providerId="LiveId" clId="{9F0232C1-7AC5-4875-B63C-538748ED1973}" dt="2020-04-21T19:48:04.330" v="60" actId="20577"/>
          <ac:graphicFrameMkLst>
            <pc:docMk/>
            <pc:sldMk cId="508126509" sldId="618"/>
            <ac:graphicFrameMk id="2" creationId="{69309ACB-1DFC-421B-8DFA-80763FE75468}"/>
          </ac:graphicFrameMkLst>
        </pc:graphicFrameChg>
      </pc:sldChg>
      <pc:sldChg chg="modSp">
        <pc:chgData name="Steve Hord" userId="7478402321db30a2" providerId="LiveId" clId="{9F0232C1-7AC5-4875-B63C-538748ED1973}" dt="2020-04-21T19:17:01.613" v="57" actId="255"/>
        <pc:sldMkLst>
          <pc:docMk/>
          <pc:sldMk cId="2202142392" sldId="619"/>
        </pc:sldMkLst>
        <pc:spChg chg="mod">
          <ac:chgData name="Steve Hord" userId="7478402321db30a2" providerId="LiveId" clId="{9F0232C1-7AC5-4875-B63C-538748ED1973}" dt="2020-04-21T19:16:51.189" v="56" actId="255"/>
          <ac:spMkLst>
            <pc:docMk/>
            <pc:sldMk cId="2202142392" sldId="619"/>
            <ac:spMk id="19" creationId="{3F8B4484-A5F3-44A6-93FE-1457242A64FE}"/>
          </ac:spMkLst>
        </pc:spChg>
        <pc:spChg chg="mod">
          <ac:chgData name="Steve Hord" userId="7478402321db30a2" providerId="LiveId" clId="{9F0232C1-7AC5-4875-B63C-538748ED1973}" dt="2020-04-21T19:17:01.613" v="57" actId="255"/>
          <ac:spMkLst>
            <pc:docMk/>
            <pc:sldMk cId="2202142392" sldId="619"/>
            <ac:spMk id="20" creationId="{B31FF57A-BE28-4845-A959-442C74317B08}"/>
          </ac:spMkLst>
        </pc:spChg>
      </pc:sldChg>
      <pc:sldChg chg="modSp">
        <pc:chgData name="Steve Hord" userId="7478402321db30a2" providerId="LiveId" clId="{9F0232C1-7AC5-4875-B63C-538748ED1973}" dt="2020-04-21T20:02:03.760" v="89" actId="20577"/>
        <pc:sldMkLst>
          <pc:docMk/>
          <pc:sldMk cId="1030677442" sldId="621"/>
        </pc:sldMkLst>
        <pc:spChg chg="mod">
          <ac:chgData name="Steve Hord" userId="7478402321db30a2" providerId="LiveId" clId="{9F0232C1-7AC5-4875-B63C-538748ED1973}" dt="2020-04-21T20:01:28.952" v="88" actId="20577"/>
          <ac:spMkLst>
            <pc:docMk/>
            <pc:sldMk cId="1030677442" sldId="621"/>
            <ac:spMk id="10" creationId="{CB308758-B0BD-4B2D-B6F5-6D685175E3EE}"/>
          </ac:spMkLst>
        </pc:spChg>
        <pc:graphicFrameChg chg="mod">
          <ac:chgData name="Steve Hord" userId="7478402321db30a2" providerId="LiveId" clId="{9F0232C1-7AC5-4875-B63C-538748ED1973}" dt="2020-04-21T20:02:03.760" v="89" actId="20577"/>
          <ac:graphicFrameMkLst>
            <pc:docMk/>
            <pc:sldMk cId="1030677442" sldId="621"/>
            <ac:graphicFrameMk id="11" creationId="{0AAB9A74-97B2-4496-83A1-E9E0CC918D1D}"/>
          </ac:graphicFrameMkLst>
        </pc:graphicFrameChg>
      </pc:sldChg>
      <pc:sldChg chg="modSp">
        <pc:chgData name="Steve Hord" userId="7478402321db30a2" providerId="LiveId" clId="{9F0232C1-7AC5-4875-B63C-538748ED1973}" dt="2020-04-21T18:13:17.527" v="12" actId="255"/>
        <pc:sldMkLst>
          <pc:docMk/>
          <pc:sldMk cId="3727622838" sldId="622"/>
        </pc:sldMkLst>
        <pc:spChg chg="mod">
          <ac:chgData name="Steve Hord" userId="7478402321db30a2" providerId="LiveId" clId="{9F0232C1-7AC5-4875-B63C-538748ED1973}" dt="2020-04-21T18:13:17.527" v="12" actId="255"/>
          <ac:spMkLst>
            <pc:docMk/>
            <pc:sldMk cId="3727622838" sldId="622"/>
            <ac:spMk id="12" creationId="{EB0D7ADE-EA66-4D67-AB24-86EB688BD1AE}"/>
          </ac:spMkLst>
        </pc:spChg>
      </pc:sldChg>
      <pc:sldChg chg="modSp">
        <pc:chgData name="Steve Hord" userId="7478402321db30a2" providerId="LiveId" clId="{9F0232C1-7AC5-4875-B63C-538748ED1973}" dt="2020-04-21T20:09:03.589" v="96" actId="20577"/>
        <pc:sldMkLst>
          <pc:docMk/>
          <pc:sldMk cId="593398684" sldId="624"/>
        </pc:sldMkLst>
        <pc:spChg chg="mod">
          <ac:chgData name="Steve Hord" userId="7478402321db30a2" providerId="LiveId" clId="{9F0232C1-7AC5-4875-B63C-538748ED1973}" dt="2020-04-21T20:09:03.589" v="96" actId="20577"/>
          <ac:spMkLst>
            <pc:docMk/>
            <pc:sldMk cId="593398684" sldId="624"/>
            <ac:spMk id="8" creationId="{D4E53F4A-1426-4587-A994-2539692BA5CD}"/>
          </ac:spMkLst>
        </pc:spChg>
      </pc:sldChg>
      <pc:sldChg chg="modSp modNotesTx">
        <pc:chgData name="Steve Hord" userId="7478402321db30a2" providerId="LiveId" clId="{9F0232C1-7AC5-4875-B63C-538748ED1973}" dt="2020-04-21T21:04:08.765" v="164" actId="20577"/>
        <pc:sldMkLst>
          <pc:docMk/>
          <pc:sldMk cId="3702163554" sldId="630"/>
        </pc:sldMkLst>
        <pc:spChg chg="mod">
          <ac:chgData name="Steve Hord" userId="7478402321db30a2" providerId="LiveId" clId="{9F0232C1-7AC5-4875-B63C-538748ED1973}" dt="2020-04-21T21:02:06.422" v="161" actId="20577"/>
          <ac:spMkLst>
            <pc:docMk/>
            <pc:sldMk cId="3702163554" sldId="630"/>
            <ac:spMk id="10" creationId="{2112D96C-AB9F-4924-8996-4DEFF0DEC136}"/>
          </ac:spMkLst>
        </pc:spChg>
      </pc:sldChg>
      <pc:sldChg chg="modSp">
        <pc:chgData name="Steve Hord" userId="7478402321db30a2" providerId="LiveId" clId="{9F0232C1-7AC5-4875-B63C-538748ED1973}" dt="2020-04-21T21:35:32.432" v="181" actId="20577"/>
        <pc:sldMkLst>
          <pc:docMk/>
          <pc:sldMk cId="1732971809" sldId="631"/>
        </pc:sldMkLst>
        <pc:graphicFrameChg chg="mod">
          <ac:chgData name="Steve Hord" userId="7478402321db30a2" providerId="LiveId" clId="{9F0232C1-7AC5-4875-B63C-538748ED1973}" dt="2020-04-21T21:35:32.432" v="181" actId="20577"/>
          <ac:graphicFrameMkLst>
            <pc:docMk/>
            <pc:sldMk cId="1732971809" sldId="631"/>
            <ac:graphicFrameMk id="5" creationId="{4B6F0E6F-291B-46F9-BE67-DC7BF90065BB}"/>
          </ac:graphicFrameMkLst>
        </pc:graphicFrameChg>
      </pc:sldChg>
      <pc:sldChg chg="modSp">
        <pc:chgData name="Steve Hord" userId="7478402321db30a2" providerId="LiveId" clId="{9F0232C1-7AC5-4875-B63C-538748ED1973}" dt="2020-04-21T21:05:58.754" v="169" actId="20577"/>
        <pc:sldMkLst>
          <pc:docMk/>
          <pc:sldMk cId="2857195574" sldId="632"/>
        </pc:sldMkLst>
        <pc:graphicFrameChg chg="mod">
          <ac:chgData name="Steve Hord" userId="7478402321db30a2" providerId="LiveId" clId="{9F0232C1-7AC5-4875-B63C-538748ED1973}" dt="2020-04-21T21:05:58.754" v="169" actId="20577"/>
          <ac:graphicFrameMkLst>
            <pc:docMk/>
            <pc:sldMk cId="2857195574" sldId="632"/>
            <ac:graphicFrameMk id="10" creationId="{75AC7946-B543-4AC6-BEEB-2081C063A73D}"/>
          </ac:graphicFrameMkLst>
        </pc:graphicFrameChg>
      </pc:sldChg>
      <pc:sldChg chg="modSp modNotesTx">
        <pc:chgData name="Steve Hord" userId="7478402321db30a2" providerId="LiveId" clId="{9F0232C1-7AC5-4875-B63C-538748ED1973}" dt="2020-04-21T20:13:21.218" v="114" actId="113"/>
        <pc:sldMkLst>
          <pc:docMk/>
          <pc:sldMk cId="466097575" sldId="633"/>
        </pc:sldMkLst>
        <pc:spChg chg="mod">
          <ac:chgData name="Steve Hord" userId="7478402321db30a2" providerId="LiveId" clId="{9F0232C1-7AC5-4875-B63C-538748ED1973}" dt="2020-04-21T20:11:18.897" v="103" actId="20577"/>
          <ac:spMkLst>
            <pc:docMk/>
            <pc:sldMk cId="466097575" sldId="633"/>
            <ac:spMk id="8" creationId="{D4E53F4A-1426-4587-A994-2539692BA5CD}"/>
          </ac:spMkLst>
        </pc:spChg>
      </pc:sldChg>
      <pc:sldChg chg="modSp">
        <pc:chgData name="Steve Hord" userId="7478402321db30a2" providerId="LiveId" clId="{9F0232C1-7AC5-4875-B63C-538748ED1973}" dt="2020-04-21T20:56:47.844" v="152" actId="20577"/>
        <pc:sldMkLst>
          <pc:docMk/>
          <pc:sldMk cId="1566102222" sldId="634"/>
        </pc:sldMkLst>
        <pc:spChg chg="mod">
          <ac:chgData name="Steve Hord" userId="7478402321db30a2" providerId="LiveId" clId="{9F0232C1-7AC5-4875-B63C-538748ED1973}" dt="2020-04-21T20:56:47.844" v="152" actId="20577"/>
          <ac:spMkLst>
            <pc:docMk/>
            <pc:sldMk cId="1566102222" sldId="634"/>
            <ac:spMk id="4" creationId="{F3616A99-090F-45E1-9334-58D58B148205}"/>
          </ac:spMkLst>
        </pc:spChg>
      </pc:sldChg>
      <pc:sldChg chg="modSp modNotesTx">
        <pc:chgData name="Steve Hord" userId="7478402321db30a2" providerId="LiveId" clId="{9F0232C1-7AC5-4875-B63C-538748ED1973}" dt="2020-04-21T20:54:50.046" v="144" actId="20577"/>
        <pc:sldMkLst>
          <pc:docMk/>
          <pc:sldMk cId="2202610295" sldId="635"/>
        </pc:sldMkLst>
        <pc:graphicFrameChg chg="mod">
          <ac:chgData name="Steve Hord" userId="7478402321db30a2" providerId="LiveId" clId="{9F0232C1-7AC5-4875-B63C-538748ED1973}" dt="2020-04-21T20:52:18.968" v="143" actId="20577"/>
          <ac:graphicFrameMkLst>
            <pc:docMk/>
            <pc:sldMk cId="2202610295" sldId="635"/>
            <ac:graphicFrameMk id="5" creationId="{85FCFEA5-76C0-481C-AAC4-2ED55A37454B}"/>
          </ac:graphicFrameMkLst>
        </pc:graphicFrameChg>
      </pc:sldChg>
      <pc:sldChg chg="modSp">
        <pc:chgData name="Steve Hord" userId="7478402321db30a2" providerId="LiveId" clId="{9F0232C1-7AC5-4875-B63C-538748ED1973}" dt="2020-04-21T20:58:56.644" v="156" actId="20577"/>
        <pc:sldMkLst>
          <pc:docMk/>
          <pc:sldMk cId="2109418391" sldId="636"/>
        </pc:sldMkLst>
        <pc:spChg chg="mod">
          <ac:chgData name="Steve Hord" userId="7478402321db30a2" providerId="LiveId" clId="{9F0232C1-7AC5-4875-B63C-538748ED1973}" dt="2020-04-21T20:58:56.644" v="156" actId="20577"/>
          <ac:spMkLst>
            <pc:docMk/>
            <pc:sldMk cId="2109418391" sldId="636"/>
            <ac:spMk id="4" creationId="{F3616A99-090F-45E1-9334-58D58B148205}"/>
          </ac:spMkLst>
        </pc:spChg>
      </pc:sldChg>
      <pc:sldChg chg="modSp">
        <pc:chgData name="Steve Hord" userId="7478402321db30a2" providerId="LiveId" clId="{9F0232C1-7AC5-4875-B63C-538748ED1973}" dt="2020-04-21T21:01:19.485" v="160" actId="20577"/>
        <pc:sldMkLst>
          <pc:docMk/>
          <pc:sldMk cId="877878254" sldId="637"/>
        </pc:sldMkLst>
        <pc:spChg chg="mod">
          <ac:chgData name="Steve Hord" userId="7478402321db30a2" providerId="LiveId" clId="{9F0232C1-7AC5-4875-B63C-538748ED1973}" dt="2020-04-21T21:01:19.485" v="160" actId="20577"/>
          <ac:spMkLst>
            <pc:docMk/>
            <pc:sldMk cId="877878254" sldId="637"/>
            <ac:spMk id="5" creationId="{1AD8A9F0-64D5-48AF-A056-EB187C5F6CEC}"/>
          </ac:spMkLst>
        </pc:spChg>
      </pc:sldChg>
      <pc:sldChg chg="modSp">
        <pc:chgData name="Steve Hord" userId="7478402321db30a2" providerId="LiveId" clId="{9F0232C1-7AC5-4875-B63C-538748ED1973}" dt="2020-04-21T21:04:51.622" v="168" actId="20577"/>
        <pc:sldMkLst>
          <pc:docMk/>
          <pc:sldMk cId="2014377657" sldId="638"/>
        </pc:sldMkLst>
        <pc:spChg chg="mod">
          <ac:chgData name="Steve Hord" userId="7478402321db30a2" providerId="LiveId" clId="{9F0232C1-7AC5-4875-B63C-538748ED1973}" dt="2020-04-21T21:04:51.622" v="168" actId="20577"/>
          <ac:spMkLst>
            <pc:docMk/>
            <pc:sldMk cId="2014377657" sldId="638"/>
            <ac:spMk id="5" creationId="{1AD8A9F0-64D5-48AF-A056-EB187C5F6CEC}"/>
          </ac:spMkLst>
        </pc:spChg>
      </pc:sldChg>
      <pc:sldChg chg="modSp">
        <pc:chgData name="Steve Hord" userId="7478402321db30a2" providerId="LiveId" clId="{9F0232C1-7AC5-4875-B63C-538748ED1973}" dt="2020-04-21T21:09:02.901" v="173" actId="20577"/>
        <pc:sldMkLst>
          <pc:docMk/>
          <pc:sldMk cId="3484407754" sldId="639"/>
        </pc:sldMkLst>
        <pc:spChg chg="mod">
          <ac:chgData name="Steve Hord" userId="7478402321db30a2" providerId="LiveId" clId="{9F0232C1-7AC5-4875-B63C-538748ED1973}" dt="2020-04-21T21:09:02.901" v="173" actId="20577"/>
          <ac:spMkLst>
            <pc:docMk/>
            <pc:sldMk cId="3484407754" sldId="639"/>
            <ac:spMk id="5" creationId="{1AD8A9F0-64D5-48AF-A056-EB187C5F6CEC}"/>
          </ac:spMkLst>
        </pc:spChg>
      </pc:sldChg>
      <pc:sldChg chg="modSp">
        <pc:chgData name="Steve Hord" userId="7478402321db30a2" providerId="LiveId" clId="{9F0232C1-7AC5-4875-B63C-538748ED1973}" dt="2020-04-21T21:36:38.929" v="182" actId="20577"/>
        <pc:sldMkLst>
          <pc:docMk/>
          <pc:sldMk cId="2502654232" sldId="640"/>
        </pc:sldMkLst>
        <pc:spChg chg="mod">
          <ac:chgData name="Steve Hord" userId="7478402321db30a2" providerId="LiveId" clId="{9F0232C1-7AC5-4875-B63C-538748ED1973}" dt="2020-04-21T21:36:38.929" v="182" actId="20577"/>
          <ac:spMkLst>
            <pc:docMk/>
            <pc:sldMk cId="2502654232" sldId="640"/>
            <ac:spMk id="6" creationId="{B2DA85DE-71D1-48B3-823A-E1808778A06F}"/>
          </ac:spMkLst>
        </pc:spChg>
      </pc:sldChg>
      <pc:sldChg chg="modSp">
        <pc:chgData name="Steve Hord" userId="7478402321db30a2" providerId="LiveId" clId="{9F0232C1-7AC5-4875-B63C-538748ED1973}" dt="2020-04-21T21:37:06.390" v="186" actId="20577"/>
        <pc:sldMkLst>
          <pc:docMk/>
          <pc:sldMk cId="3277872637" sldId="641"/>
        </pc:sldMkLst>
        <pc:spChg chg="mod">
          <ac:chgData name="Steve Hord" userId="7478402321db30a2" providerId="LiveId" clId="{9F0232C1-7AC5-4875-B63C-538748ED1973}" dt="2020-04-21T21:37:06.390" v="186" actId="20577"/>
          <ac:spMkLst>
            <pc:docMk/>
            <pc:sldMk cId="3277872637" sldId="641"/>
            <ac:spMk id="5" creationId="{1AD8A9F0-64D5-48AF-A056-EB187C5F6CEC}"/>
          </ac:spMkLst>
        </pc:spChg>
      </pc:sldChg>
      <pc:sldChg chg="modSp">
        <pc:chgData name="Steve Hord" userId="7478402321db30a2" providerId="LiveId" clId="{9F0232C1-7AC5-4875-B63C-538748ED1973}" dt="2020-04-21T21:34:16" v="178" actId="20577"/>
        <pc:sldMkLst>
          <pc:docMk/>
          <pc:sldMk cId="3560969285" sldId="642"/>
        </pc:sldMkLst>
        <pc:spChg chg="mod">
          <ac:chgData name="Steve Hord" userId="7478402321db30a2" providerId="LiveId" clId="{9F0232C1-7AC5-4875-B63C-538748ED1973}" dt="2020-04-21T21:34:16" v="178" actId="20577"/>
          <ac:spMkLst>
            <pc:docMk/>
            <pc:sldMk cId="3560969285" sldId="642"/>
            <ac:spMk id="5" creationId="{1AD8A9F0-64D5-48AF-A056-EB187C5F6CEC}"/>
          </ac:spMkLst>
        </pc:spChg>
      </pc:sldChg>
      <pc:sldChg chg="modSp">
        <pc:chgData name="Steve Hord" userId="7478402321db30a2" providerId="LiveId" clId="{9F0232C1-7AC5-4875-B63C-538748ED1973}" dt="2020-04-21T20:14:45.406" v="118" actId="20577"/>
        <pc:sldMkLst>
          <pc:docMk/>
          <pc:sldMk cId="533282277" sldId="643"/>
        </pc:sldMkLst>
        <pc:spChg chg="mod">
          <ac:chgData name="Steve Hord" userId="7478402321db30a2" providerId="LiveId" clId="{9F0232C1-7AC5-4875-B63C-538748ED1973}" dt="2020-04-21T20:14:45.406" v="118" actId="20577"/>
          <ac:spMkLst>
            <pc:docMk/>
            <pc:sldMk cId="533282277" sldId="643"/>
            <ac:spMk id="5" creationId="{EFA18231-18B7-4763-8D31-D8DADE8A26F2}"/>
          </ac:spMkLst>
        </pc:spChg>
      </pc:sldChg>
      <pc:sldChg chg="modSp">
        <pc:chgData name="Steve Hord" userId="7478402321db30a2" providerId="LiveId" clId="{9F0232C1-7AC5-4875-B63C-538748ED1973}" dt="2020-04-21T18:50:57.454" v="30" actId="255"/>
        <pc:sldMkLst>
          <pc:docMk/>
          <pc:sldMk cId="3563909604" sldId="644"/>
        </pc:sldMkLst>
        <pc:graphicFrameChg chg="mod">
          <ac:chgData name="Steve Hord" userId="7478402321db30a2" providerId="LiveId" clId="{9F0232C1-7AC5-4875-B63C-538748ED1973}" dt="2020-04-21T18:50:57.454" v="30" actId="255"/>
          <ac:graphicFrameMkLst>
            <pc:docMk/>
            <pc:sldMk cId="3563909604" sldId="644"/>
            <ac:graphicFrameMk id="5" creationId="{4E0C6875-C2A8-44EE-BFBF-C01D9EE7766A}"/>
          </ac:graphicFrameMkLst>
        </pc:graphicFrameChg>
      </pc:sldChg>
    </pc:docChg>
  </pc:docChgLst>
  <pc:docChgLst>
    <pc:chgData name="Daniel Valero" userId="31dd2ff7-9a08-462f-9096-6c487a317220" providerId="ADAL" clId="{C5ECE520-D9F6-468C-B007-133130995236}"/>
    <pc:docChg chg="undo custSel modSld">
      <pc:chgData name="Daniel Valero" userId="31dd2ff7-9a08-462f-9096-6c487a317220" providerId="ADAL" clId="{C5ECE520-D9F6-468C-B007-133130995236}" dt="2020-03-18T16:08:20.749" v="904" actId="20577"/>
      <pc:docMkLst>
        <pc:docMk/>
      </pc:docMkLst>
      <pc:sldChg chg="modSp mod">
        <pc:chgData name="Daniel Valero" userId="31dd2ff7-9a08-462f-9096-6c487a317220" providerId="ADAL" clId="{C5ECE520-D9F6-468C-B007-133130995236}" dt="2020-03-18T15:32:46.890" v="0" actId="20577"/>
        <pc:sldMkLst>
          <pc:docMk/>
          <pc:sldMk cId="2147177822" sldId="568"/>
        </pc:sldMkLst>
        <pc:spChg chg="mod">
          <ac:chgData name="Daniel Valero" userId="31dd2ff7-9a08-462f-9096-6c487a317220" providerId="ADAL" clId="{C5ECE520-D9F6-468C-B007-133130995236}" dt="2020-03-18T15:32:46.890" v="0" actId="20577"/>
          <ac:spMkLst>
            <pc:docMk/>
            <pc:sldMk cId="2147177822" sldId="568"/>
            <ac:spMk id="2" creationId="{BC57B38C-8413-4861-A4F5-7DF656AEAD0D}"/>
          </ac:spMkLst>
        </pc:spChg>
      </pc:sldChg>
      <pc:sldChg chg="modSp modNotesTx">
        <pc:chgData name="Daniel Valero" userId="31dd2ff7-9a08-462f-9096-6c487a317220" providerId="ADAL" clId="{C5ECE520-D9F6-468C-B007-133130995236}" dt="2020-03-18T16:08:20.749" v="904" actId="20577"/>
        <pc:sldMkLst>
          <pc:docMk/>
          <pc:sldMk cId="4206133277" sldId="577"/>
        </pc:sldMkLst>
        <pc:graphicFrameChg chg="mod">
          <ac:chgData name="Daniel Valero" userId="31dd2ff7-9a08-462f-9096-6c487a317220" providerId="ADAL" clId="{C5ECE520-D9F6-468C-B007-133130995236}" dt="2020-03-18T16:04:25.358" v="267" actId="20577"/>
          <ac:graphicFrameMkLst>
            <pc:docMk/>
            <pc:sldMk cId="4206133277" sldId="577"/>
            <ac:graphicFrameMk id="3" creationId="{9484E1FE-7534-495E-863C-657A46F5E628}"/>
          </ac:graphicFrameMkLst>
        </pc:graphicFrameChg>
      </pc:sldChg>
      <pc:sldChg chg="modSp mod">
        <pc:chgData name="Daniel Valero" userId="31dd2ff7-9a08-462f-9096-6c487a317220" providerId="ADAL" clId="{C5ECE520-D9F6-468C-B007-133130995236}" dt="2020-03-18T15:33:21.089" v="2" actId="27636"/>
        <pc:sldMkLst>
          <pc:docMk/>
          <pc:sldMk cId="1097784745" sldId="598"/>
        </pc:sldMkLst>
        <pc:spChg chg="mod">
          <ac:chgData name="Daniel Valero" userId="31dd2ff7-9a08-462f-9096-6c487a317220" providerId="ADAL" clId="{C5ECE520-D9F6-468C-B007-133130995236}" dt="2020-03-18T15:33:21.089" v="2" actId="27636"/>
          <ac:spMkLst>
            <pc:docMk/>
            <pc:sldMk cId="1097784745" sldId="598"/>
            <ac:spMk id="4" creationId="{F3616A99-090F-45E1-9334-58D58B148205}"/>
          </ac:spMkLst>
        </pc:spChg>
      </pc:sldChg>
      <pc:sldChg chg="modSp mod">
        <pc:chgData name="Daniel Valero" userId="31dd2ff7-9a08-462f-9096-6c487a317220" providerId="ADAL" clId="{C5ECE520-D9F6-468C-B007-133130995236}" dt="2020-03-18T15:34:19.517" v="4" actId="27636"/>
        <pc:sldMkLst>
          <pc:docMk/>
          <pc:sldMk cId="200290157" sldId="599"/>
        </pc:sldMkLst>
        <pc:spChg chg="mod">
          <ac:chgData name="Daniel Valero" userId="31dd2ff7-9a08-462f-9096-6c487a317220" providerId="ADAL" clId="{C5ECE520-D9F6-468C-B007-133130995236}" dt="2020-03-18T15:34:19.517" v="4" actId="27636"/>
          <ac:spMkLst>
            <pc:docMk/>
            <pc:sldMk cId="200290157" sldId="599"/>
            <ac:spMk id="4" creationId="{F3616A99-090F-45E1-9334-58D58B148205}"/>
          </ac:spMkLst>
        </pc:spChg>
      </pc:sldChg>
      <pc:sldChg chg="addSp delSp modSp mod">
        <pc:chgData name="Daniel Valero" userId="31dd2ff7-9a08-462f-9096-6c487a317220" providerId="ADAL" clId="{C5ECE520-D9F6-468C-B007-133130995236}" dt="2020-03-18T15:36:24.043" v="24" actId="27636"/>
        <pc:sldMkLst>
          <pc:docMk/>
          <pc:sldMk cId="2420422319" sldId="602"/>
        </pc:sldMkLst>
        <pc:spChg chg="del">
          <ac:chgData name="Daniel Valero" userId="31dd2ff7-9a08-462f-9096-6c487a317220" providerId="ADAL" clId="{C5ECE520-D9F6-468C-B007-133130995236}" dt="2020-03-18T15:34:46.823" v="5" actId="478"/>
          <ac:spMkLst>
            <pc:docMk/>
            <pc:sldMk cId="2420422319" sldId="602"/>
            <ac:spMk id="4" creationId="{F3616A99-090F-45E1-9334-58D58B148205}"/>
          </ac:spMkLst>
        </pc:spChg>
        <pc:spChg chg="add del mod">
          <ac:chgData name="Daniel Valero" userId="31dd2ff7-9a08-462f-9096-6c487a317220" providerId="ADAL" clId="{C5ECE520-D9F6-468C-B007-133130995236}" dt="2020-03-18T15:34:48.668" v="6" actId="478"/>
          <ac:spMkLst>
            <pc:docMk/>
            <pc:sldMk cId="2420422319" sldId="602"/>
            <ac:spMk id="6" creationId="{F67E3650-BB52-42AB-BADA-546F514AE683}"/>
          </ac:spMkLst>
        </pc:spChg>
        <pc:spChg chg="add del mod">
          <ac:chgData name="Daniel Valero" userId="31dd2ff7-9a08-462f-9096-6c487a317220" providerId="ADAL" clId="{C5ECE520-D9F6-468C-B007-133130995236}" dt="2020-03-18T15:35:56.861" v="15" actId="478"/>
          <ac:spMkLst>
            <pc:docMk/>
            <pc:sldMk cId="2420422319" sldId="602"/>
            <ac:spMk id="7" creationId="{B75B4D20-358F-40F3-9B42-2F75A1FC2159}"/>
          </ac:spMkLst>
        </pc:spChg>
        <pc:spChg chg="add">
          <ac:chgData name="Daniel Valero" userId="31dd2ff7-9a08-462f-9096-6c487a317220" providerId="ADAL" clId="{C5ECE520-D9F6-468C-B007-133130995236}" dt="2020-03-18T15:35:29.866" v="10"/>
          <ac:spMkLst>
            <pc:docMk/>
            <pc:sldMk cId="2420422319" sldId="602"/>
            <ac:spMk id="19" creationId="{E6459DC8-7F5C-4033-9C16-86CD57B7B5CA}"/>
          </ac:spMkLst>
        </pc:spChg>
        <pc:spChg chg="add">
          <ac:chgData name="Daniel Valero" userId="31dd2ff7-9a08-462f-9096-6c487a317220" providerId="ADAL" clId="{C5ECE520-D9F6-468C-B007-133130995236}" dt="2020-03-18T15:35:29.866" v="10"/>
          <ac:spMkLst>
            <pc:docMk/>
            <pc:sldMk cId="2420422319" sldId="602"/>
            <ac:spMk id="20" creationId="{64C5F295-5477-43CB-9A97-49CB5033BB10}"/>
          </ac:spMkLst>
        </pc:spChg>
        <pc:spChg chg="add">
          <ac:chgData name="Daniel Valero" userId="31dd2ff7-9a08-462f-9096-6c487a317220" providerId="ADAL" clId="{C5ECE520-D9F6-468C-B007-133130995236}" dt="2020-03-18T15:35:29.866" v="10"/>
          <ac:spMkLst>
            <pc:docMk/>
            <pc:sldMk cId="2420422319" sldId="602"/>
            <ac:spMk id="21" creationId="{4B3A160B-6673-4D36-8BB8-F108BDC31FED}"/>
          </ac:spMkLst>
        </pc:spChg>
        <pc:spChg chg="add">
          <ac:chgData name="Daniel Valero" userId="31dd2ff7-9a08-462f-9096-6c487a317220" providerId="ADAL" clId="{C5ECE520-D9F6-468C-B007-133130995236}" dt="2020-03-18T15:35:29.866" v="10"/>
          <ac:spMkLst>
            <pc:docMk/>
            <pc:sldMk cId="2420422319" sldId="602"/>
            <ac:spMk id="22" creationId="{0EBD7557-33B7-4D81-AEB6-A6B471C392C8}"/>
          </ac:spMkLst>
        </pc:spChg>
        <pc:spChg chg="add">
          <ac:chgData name="Daniel Valero" userId="31dd2ff7-9a08-462f-9096-6c487a317220" providerId="ADAL" clId="{C5ECE520-D9F6-468C-B007-133130995236}" dt="2020-03-18T15:35:29.866" v="10"/>
          <ac:spMkLst>
            <pc:docMk/>
            <pc:sldMk cId="2420422319" sldId="602"/>
            <ac:spMk id="23" creationId="{DED1B7F8-51E5-4287-A02C-6BE3AA146302}"/>
          </ac:spMkLst>
        </pc:spChg>
        <pc:spChg chg="add">
          <ac:chgData name="Daniel Valero" userId="31dd2ff7-9a08-462f-9096-6c487a317220" providerId="ADAL" clId="{C5ECE520-D9F6-468C-B007-133130995236}" dt="2020-03-18T15:35:29.866" v="10"/>
          <ac:spMkLst>
            <pc:docMk/>
            <pc:sldMk cId="2420422319" sldId="602"/>
            <ac:spMk id="24" creationId="{957892DE-184E-453F-8570-FC8FA2E4C319}"/>
          </ac:spMkLst>
        </pc:spChg>
        <pc:spChg chg="add">
          <ac:chgData name="Daniel Valero" userId="31dd2ff7-9a08-462f-9096-6c487a317220" providerId="ADAL" clId="{C5ECE520-D9F6-468C-B007-133130995236}" dt="2020-03-18T15:35:29.866" v="10"/>
          <ac:spMkLst>
            <pc:docMk/>
            <pc:sldMk cId="2420422319" sldId="602"/>
            <ac:spMk id="25" creationId="{7E850198-A140-4DD8-B00A-46C518604D1A}"/>
          </ac:spMkLst>
        </pc:spChg>
        <pc:spChg chg="add">
          <ac:chgData name="Daniel Valero" userId="31dd2ff7-9a08-462f-9096-6c487a317220" providerId="ADAL" clId="{C5ECE520-D9F6-468C-B007-133130995236}" dt="2020-03-18T15:35:29.866" v="10"/>
          <ac:spMkLst>
            <pc:docMk/>
            <pc:sldMk cId="2420422319" sldId="602"/>
            <ac:spMk id="26" creationId="{52AEA408-6E27-41A1-8384-A047B4905A84}"/>
          </ac:spMkLst>
        </pc:spChg>
        <pc:spChg chg="add">
          <ac:chgData name="Daniel Valero" userId="31dd2ff7-9a08-462f-9096-6c487a317220" providerId="ADAL" clId="{C5ECE520-D9F6-468C-B007-133130995236}" dt="2020-03-18T15:35:29.866" v="10"/>
          <ac:spMkLst>
            <pc:docMk/>
            <pc:sldMk cId="2420422319" sldId="602"/>
            <ac:spMk id="27" creationId="{6096FF9B-1817-47B3-A3BB-E3C4DCAF6F23}"/>
          </ac:spMkLst>
        </pc:spChg>
        <pc:spChg chg="add">
          <ac:chgData name="Daniel Valero" userId="31dd2ff7-9a08-462f-9096-6c487a317220" providerId="ADAL" clId="{C5ECE520-D9F6-468C-B007-133130995236}" dt="2020-03-18T15:35:29.866" v="10"/>
          <ac:spMkLst>
            <pc:docMk/>
            <pc:sldMk cId="2420422319" sldId="602"/>
            <ac:spMk id="28" creationId="{2CC323D3-05A4-40FD-B796-5C118D9D1325}"/>
          </ac:spMkLst>
        </pc:spChg>
        <pc:spChg chg="add">
          <ac:chgData name="Daniel Valero" userId="31dd2ff7-9a08-462f-9096-6c487a317220" providerId="ADAL" clId="{C5ECE520-D9F6-468C-B007-133130995236}" dt="2020-03-18T15:35:29.866" v="10"/>
          <ac:spMkLst>
            <pc:docMk/>
            <pc:sldMk cId="2420422319" sldId="602"/>
            <ac:spMk id="29" creationId="{F8E51804-EDA4-49AA-9256-6975794A64C8}"/>
          </ac:spMkLst>
        </pc:spChg>
        <pc:spChg chg="add">
          <ac:chgData name="Daniel Valero" userId="31dd2ff7-9a08-462f-9096-6c487a317220" providerId="ADAL" clId="{C5ECE520-D9F6-468C-B007-133130995236}" dt="2020-03-18T15:35:29.866" v="10"/>
          <ac:spMkLst>
            <pc:docMk/>
            <pc:sldMk cId="2420422319" sldId="602"/>
            <ac:spMk id="30" creationId="{52DE3477-E089-4B4B-8DAC-B6111D280554}"/>
          </ac:spMkLst>
        </pc:spChg>
        <pc:spChg chg="add">
          <ac:chgData name="Daniel Valero" userId="31dd2ff7-9a08-462f-9096-6c487a317220" providerId="ADAL" clId="{C5ECE520-D9F6-468C-B007-133130995236}" dt="2020-03-18T15:35:29.866" v="10"/>
          <ac:spMkLst>
            <pc:docMk/>
            <pc:sldMk cId="2420422319" sldId="602"/>
            <ac:spMk id="31" creationId="{F4ADBFF0-09D9-4C40-9B50-F5928EB205C2}"/>
          </ac:spMkLst>
        </pc:spChg>
        <pc:spChg chg="add">
          <ac:chgData name="Daniel Valero" userId="31dd2ff7-9a08-462f-9096-6c487a317220" providerId="ADAL" clId="{C5ECE520-D9F6-468C-B007-133130995236}" dt="2020-03-18T15:35:29.866" v="10"/>
          <ac:spMkLst>
            <pc:docMk/>
            <pc:sldMk cId="2420422319" sldId="602"/>
            <ac:spMk id="32" creationId="{609461CD-343A-481C-B047-C4A831EE79EE}"/>
          </ac:spMkLst>
        </pc:spChg>
        <pc:spChg chg="add">
          <ac:chgData name="Daniel Valero" userId="31dd2ff7-9a08-462f-9096-6c487a317220" providerId="ADAL" clId="{C5ECE520-D9F6-468C-B007-133130995236}" dt="2020-03-18T15:35:29.866" v="10"/>
          <ac:spMkLst>
            <pc:docMk/>
            <pc:sldMk cId="2420422319" sldId="602"/>
            <ac:spMk id="33" creationId="{B7203129-DD2B-49B7-92E0-6F691F31D8B4}"/>
          </ac:spMkLst>
        </pc:spChg>
        <pc:spChg chg="add">
          <ac:chgData name="Daniel Valero" userId="31dd2ff7-9a08-462f-9096-6c487a317220" providerId="ADAL" clId="{C5ECE520-D9F6-468C-B007-133130995236}" dt="2020-03-18T15:35:29.866" v="10"/>
          <ac:spMkLst>
            <pc:docMk/>
            <pc:sldMk cId="2420422319" sldId="602"/>
            <ac:spMk id="34" creationId="{72DE2710-6F80-4D15-9F2F-BD4882A193AE}"/>
          </ac:spMkLst>
        </pc:spChg>
        <pc:spChg chg="add">
          <ac:chgData name="Daniel Valero" userId="31dd2ff7-9a08-462f-9096-6c487a317220" providerId="ADAL" clId="{C5ECE520-D9F6-468C-B007-133130995236}" dt="2020-03-18T15:35:29.866" v="10"/>
          <ac:spMkLst>
            <pc:docMk/>
            <pc:sldMk cId="2420422319" sldId="602"/>
            <ac:spMk id="35" creationId="{A16A33C1-B865-4BD1-9B71-45E25D6292D5}"/>
          </ac:spMkLst>
        </pc:spChg>
        <pc:spChg chg="add">
          <ac:chgData name="Daniel Valero" userId="31dd2ff7-9a08-462f-9096-6c487a317220" providerId="ADAL" clId="{C5ECE520-D9F6-468C-B007-133130995236}" dt="2020-03-18T15:35:29.866" v="10"/>
          <ac:spMkLst>
            <pc:docMk/>
            <pc:sldMk cId="2420422319" sldId="602"/>
            <ac:spMk id="36" creationId="{B09D6A66-CBBB-4508-9E4E-89C426D7F2C1}"/>
          </ac:spMkLst>
        </pc:spChg>
        <pc:spChg chg="add">
          <ac:chgData name="Daniel Valero" userId="31dd2ff7-9a08-462f-9096-6c487a317220" providerId="ADAL" clId="{C5ECE520-D9F6-468C-B007-133130995236}" dt="2020-03-18T15:35:29.866" v="10"/>
          <ac:spMkLst>
            <pc:docMk/>
            <pc:sldMk cId="2420422319" sldId="602"/>
            <ac:spMk id="37" creationId="{02880426-9C5F-4A0F-B573-0C68CAEE658A}"/>
          </ac:spMkLst>
        </pc:spChg>
        <pc:spChg chg="add">
          <ac:chgData name="Daniel Valero" userId="31dd2ff7-9a08-462f-9096-6c487a317220" providerId="ADAL" clId="{C5ECE520-D9F6-468C-B007-133130995236}" dt="2020-03-18T15:35:29.866" v="10"/>
          <ac:spMkLst>
            <pc:docMk/>
            <pc:sldMk cId="2420422319" sldId="602"/>
            <ac:spMk id="38" creationId="{52263F56-915D-471A-B156-EC5F59B4EC36}"/>
          </ac:spMkLst>
        </pc:spChg>
        <pc:spChg chg="add mod">
          <ac:chgData name="Daniel Valero" userId="31dd2ff7-9a08-462f-9096-6c487a317220" providerId="ADAL" clId="{C5ECE520-D9F6-468C-B007-133130995236}" dt="2020-03-18T15:36:24.043" v="24" actId="27636"/>
          <ac:spMkLst>
            <pc:docMk/>
            <pc:sldMk cId="2420422319" sldId="602"/>
            <ac:spMk id="39" creationId="{55216F1C-04FF-4268-A03F-901CC787A306}"/>
          </ac:spMkLst>
        </pc:spChg>
        <pc:grpChg chg="add del mod">
          <ac:chgData name="Daniel Valero" userId="31dd2ff7-9a08-462f-9096-6c487a317220" providerId="ADAL" clId="{C5ECE520-D9F6-468C-B007-133130995236}" dt="2020-03-18T15:35:50.485" v="12" actId="478"/>
          <ac:grpSpMkLst>
            <pc:docMk/>
            <pc:sldMk cId="2420422319" sldId="602"/>
            <ac:grpSpMk id="8" creationId="{96DC595F-6C44-4CD9-9E57-308FED1BE9C6}"/>
          </ac:grpSpMkLst>
        </pc:grpChg>
        <pc:grpChg chg="add del mod">
          <ac:chgData name="Daniel Valero" userId="31dd2ff7-9a08-462f-9096-6c487a317220" providerId="ADAL" clId="{C5ECE520-D9F6-468C-B007-133130995236}" dt="2020-03-18T15:35:50.485" v="12" actId="478"/>
          <ac:grpSpMkLst>
            <pc:docMk/>
            <pc:sldMk cId="2420422319" sldId="602"/>
            <ac:grpSpMk id="9" creationId="{D861396D-B8FC-4785-A72D-91F951886B56}"/>
          </ac:grpSpMkLst>
        </pc:grpChg>
        <pc:grpChg chg="add del mod">
          <ac:chgData name="Daniel Valero" userId="31dd2ff7-9a08-462f-9096-6c487a317220" providerId="ADAL" clId="{C5ECE520-D9F6-468C-B007-133130995236}" dt="2020-03-18T15:35:50.485" v="12" actId="478"/>
          <ac:grpSpMkLst>
            <pc:docMk/>
            <pc:sldMk cId="2420422319" sldId="602"/>
            <ac:grpSpMk id="11" creationId="{218C2D1B-671E-48E7-9EF4-DB26DF2A17DD}"/>
          </ac:grpSpMkLst>
        </pc:grpChg>
        <pc:grpChg chg="add del mod">
          <ac:chgData name="Daniel Valero" userId="31dd2ff7-9a08-462f-9096-6c487a317220" providerId="ADAL" clId="{C5ECE520-D9F6-468C-B007-133130995236}" dt="2020-03-18T15:35:50.485" v="12" actId="478"/>
          <ac:grpSpMkLst>
            <pc:docMk/>
            <pc:sldMk cId="2420422319" sldId="602"/>
            <ac:grpSpMk id="12" creationId="{E28CA82F-FC14-4109-9F2D-59E8E45E76ED}"/>
          </ac:grpSpMkLst>
        </pc:grpChg>
        <pc:grpChg chg="add del mod">
          <ac:chgData name="Daniel Valero" userId="31dd2ff7-9a08-462f-9096-6c487a317220" providerId="ADAL" clId="{C5ECE520-D9F6-468C-B007-133130995236}" dt="2020-03-18T15:35:50.485" v="12" actId="478"/>
          <ac:grpSpMkLst>
            <pc:docMk/>
            <pc:sldMk cId="2420422319" sldId="602"/>
            <ac:grpSpMk id="13" creationId="{CD0AD660-673A-4EFF-AB2D-C7851E12AF06}"/>
          </ac:grpSpMkLst>
        </pc:grpChg>
        <pc:grpChg chg="add del mod">
          <ac:chgData name="Daniel Valero" userId="31dd2ff7-9a08-462f-9096-6c487a317220" providerId="ADAL" clId="{C5ECE520-D9F6-468C-B007-133130995236}" dt="2020-03-18T15:35:50.485" v="12" actId="478"/>
          <ac:grpSpMkLst>
            <pc:docMk/>
            <pc:sldMk cId="2420422319" sldId="602"/>
            <ac:grpSpMk id="14" creationId="{DBBF322E-77EA-4412-961C-E2C250BFB32B}"/>
          </ac:grpSpMkLst>
        </pc:grpChg>
        <pc:grpChg chg="add del mod">
          <ac:chgData name="Daniel Valero" userId="31dd2ff7-9a08-462f-9096-6c487a317220" providerId="ADAL" clId="{C5ECE520-D9F6-468C-B007-133130995236}" dt="2020-03-18T15:35:50.485" v="12" actId="478"/>
          <ac:grpSpMkLst>
            <pc:docMk/>
            <pc:sldMk cId="2420422319" sldId="602"/>
            <ac:grpSpMk id="15" creationId="{EF58B457-2744-4F07-B246-55D5A4E7D57C}"/>
          </ac:grpSpMkLst>
        </pc:grpChg>
        <pc:grpChg chg="add del mod">
          <ac:chgData name="Daniel Valero" userId="31dd2ff7-9a08-462f-9096-6c487a317220" providerId="ADAL" clId="{C5ECE520-D9F6-468C-B007-133130995236}" dt="2020-03-18T15:35:50.485" v="12" actId="478"/>
          <ac:grpSpMkLst>
            <pc:docMk/>
            <pc:sldMk cId="2420422319" sldId="602"/>
            <ac:grpSpMk id="16" creationId="{3CD490F9-78AA-44E0-A8DF-08E207C3B2C2}"/>
          </ac:grpSpMkLst>
        </pc:grpChg>
        <pc:grpChg chg="add del mod">
          <ac:chgData name="Daniel Valero" userId="31dd2ff7-9a08-462f-9096-6c487a317220" providerId="ADAL" clId="{C5ECE520-D9F6-468C-B007-133130995236}" dt="2020-03-18T15:35:50.485" v="12" actId="478"/>
          <ac:grpSpMkLst>
            <pc:docMk/>
            <pc:sldMk cId="2420422319" sldId="602"/>
            <ac:grpSpMk id="17" creationId="{B3648957-2F01-4574-81CC-C9C38FEA1371}"/>
          </ac:grpSpMkLst>
        </pc:grpChg>
        <pc:grpChg chg="add del mod">
          <ac:chgData name="Daniel Valero" userId="31dd2ff7-9a08-462f-9096-6c487a317220" providerId="ADAL" clId="{C5ECE520-D9F6-468C-B007-133130995236}" dt="2020-03-18T15:35:50.485" v="12" actId="478"/>
          <ac:grpSpMkLst>
            <pc:docMk/>
            <pc:sldMk cId="2420422319" sldId="602"/>
            <ac:grpSpMk id="18" creationId="{887544BD-9005-46B3-95F1-10257C6AE602}"/>
          </ac:grpSpMkLst>
        </pc:grpChg>
        <pc:graphicFrameChg chg="del mod">
          <ac:chgData name="Daniel Valero" userId="31dd2ff7-9a08-462f-9096-6c487a317220" providerId="ADAL" clId="{C5ECE520-D9F6-468C-B007-133130995236}" dt="2020-03-18T15:35:27.776" v="9" actId="478"/>
          <ac:graphicFrameMkLst>
            <pc:docMk/>
            <pc:sldMk cId="2420422319" sldId="602"/>
            <ac:graphicFrameMk id="10" creationId="{E187638D-2B21-4A36-A70A-F5A0FAE62B1C}"/>
          </ac:graphicFrameMkLst>
        </pc:graphicFrameChg>
      </pc:sldChg>
      <pc:sldChg chg="modNotesTx">
        <pc:chgData name="Daniel Valero" userId="31dd2ff7-9a08-462f-9096-6c487a317220" providerId="ADAL" clId="{C5ECE520-D9F6-468C-B007-133130995236}" dt="2020-03-18T15:43:55.277" v="53" actId="20577"/>
        <pc:sldMkLst>
          <pc:docMk/>
          <pc:sldMk cId="3785445527" sldId="628"/>
        </pc:sldMkLst>
      </pc:sldChg>
      <pc:sldChg chg="modSp">
        <pc:chgData name="Daniel Valero" userId="31dd2ff7-9a08-462f-9096-6c487a317220" providerId="ADAL" clId="{C5ECE520-D9F6-468C-B007-133130995236}" dt="2020-03-18T15:45:32.253" v="56" actId="20577"/>
        <pc:sldMkLst>
          <pc:docMk/>
          <pc:sldMk cId="2857195574" sldId="632"/>
        </pc:sldMkLst>
        <pc:graphicFrameChg chg="mod">
          <ac:chgData name="Daniel Valero" userId="31dd2ff7-9a08-462f-9096-6c487a317220" providerId="ADAL" clId="{C5ECE520-D9F6-468C-B007-133130995236}" dt="2020-03-18T15:45:32.253" v="56" actId="20577"/>
          <ac:graphicFrameMkLst>
            <pc:docMk/>
            <pc:sldMk cId="2857195574" sldId="632"/>
            <ac:graphicFrameMk id="10" creationId="{75AC7946-B543-4AC6-BEEB-2081C063A73D}"/>
          </ac:graphicFrameMkLst>
        </pc:graphicFrameChg>
      </pc:sldChg>
      <pc:sldChg chg="modSp mod">
        <pc:chgData name="Daniel Valero" userId="31dd2ff7-9a08-462f-9096-6c487a317220" providerId="ADAL" clId="{C5ECE520-D9F6-468C-B007-133130995236}" dt="2020-03-18T15:43:26.429" v="49" actId="1076"/>
        <pc:sldMkLst>
          <pc:docMk/>
          <pc:sldMk cId="2202610295" sldId="635"/>
        </pc:sldMkLst>
        <pc:graphicFrameChg chg="mod">
          <ac:chgData name="Daniel Valero" userId="31dd2ff7-9a08-462f-9096-6c487a317220" providerId="ADAL" clId="{C5ECE520-D9F6-468C-B007-133130995236}" dt="2020-03-18T15:42:47.808" v="40"/>
          <ac:graphicFrameMkLst>
            <pc:docMk/>
            <pc:sldMk cId="2202610295" sldId="635"/>
            <ac:graphicFrameMk id="5" creationId="{85FCFEA5-76C0-481C-AAC4-2ED55A37454B}"/>
          </ac:graphicFrameMkLst>
        </pc:graphicFrameChg>
        <pc:picChg chg="mod modCrop">
          <ac:chgData name="Daniel Valero" userId="31dd2ff7-9a08-462f-9096-6c487a317220" providerId="ADAL" clId="{C5ECE520-D9F6-468C-B007-133130995236}" dt="2020-03-18T15:43:26.429" v="49" actId="1076"/>
          <ac:picMkLst>
            <pc:docMk/>
            <pc:sldMk cId="2202610295" sldId="635"/>
            <ac:picMk id="6" creationId="{7DE32251-19FA-407E-995F-625B8418B5D2}"/>
          </ac:picMkLst>
        </pc:picChg>
        <pc:picChg chg="mod">
          <ac:chgData name="Daniel Valero" userId="31dd2ff7-9a08-462f-9096-6c487a317220" providerId="ADAL" clId="{C5ECE520-D9F6-468C-B007-133130995236}" dt="2020-03-18T15:42:51.494" v="41" actId="1076"/>
          <ac:picMkLst>
            <pc:docMk/>
            <pc:sldMk cId="2202610295" sldId="635"/>
            <ac:picMk id="7" creationId="{88A788D7-8552-4B7E-A8E0-60F745ADD10C}"/>
          </ac:picMkLst>
        </pc:picChg>
      </pc:sldChg>
    </pc:docChg>
  </pc:docChgLst>
  <pc:docChgLst>
    <pc:chgData name="Daniel Valero" userId="31dd2ff7-9a08-462f-9096-6c487a317220" providerId="ADAL" clId="{837AE27E-AC69-4B5B-A183-6739C373A177}"/>
    <pc:docChg chg="undo custSel modSld">
      <pc:chgData name="Daniel Valero" userId="31dd2ff7-9a08-462f-9096-6c487a317220" providerId="ADAL" clId="{837AE27E-AC69-4B5B-A183-6739C373A177}" dt="2020-03-06T21:06:42.608" v="293"/>
      <pc:docMkLst>
        <pc:docMk/>
      </pc:docMkLst>
      <pc:sldChg chg="modSp mod">
        <pc:chgData name="Daniel Valero" userId="31dd2ff7-9a08-462f-9096-6c487a317220" providerId="ADAL" clId="{837AE27E-AC69-4B5B-A183-6739C373A177}" dt="2020-03-06T20:19:38.696" v="87" actId="790"/>
        <pc:sldMkLst>
          <pc:docMk/>
          <pc:sldMk cId="4267675391" sldId="531"/>
        </pc:sldMkLst>
        <pc:spChg chg="mod">
          <ac:chgData name="Daniel Valero" userId="31dd2ff7-9a08-462f-9096-6c487a317220" providerId="ADAL" clId="{837AE27E-AC69-4B5B-A183-6739C373A177}" dt="2020-03-06T20:19:38.696" v="87" actId="790"/>
          <ac:spMkLst>
            <pc:docMk/>
            <pc:sldMk cId="4267675391" sldId="531"/>
            <ac:spMk id="6" creationId="{637E159C-9ACF-48AE-927A-D5FB13695C7F}"/>
          </ac:spMkLst>
        </pc:spChg>
      </pc:sldChg>
      <pc:sldChg chg="modSp">
        <pc:chgData name="Daniel Valero" userId="31dd2ff7-9a08-462f-9096-6c487a317220" providerId="ADAL" clId="{837AE27E-AC69-4B5B-A183-6739C373A177}" dt="2020-03-06T20:33:37.943" v="120" actId="14100"/>
        <pc:sldMkLst>
          <pc:docMk/>
          <pc:sldMk cId="4248838292" sldId="573"/>
        </pc:sldMkLst>
        <pc:graphicFrameChg chg="mod">
          <ac:chgData name="Daniel Valero" userId="31dd2ff7-9a08-462f-9096-6c487a317220" providerId="ADAL" clId="{837AE27E-AC69-4B5B-A183-6739C373A177}" dt="2020-03-06T20:33:37.943" v="120" actId="14100"/>
          <ac:graphicFrameMkLst>
            <pc:docMk/>
            <pc:sldMk cId="4248838292" sldId="573"/>
            <ac:graphicFrameMk id="5" creationId="{54FAC4F4-38DA-480E-819C-168F142E37A2}"/>
          </ac:graphicFrameMkLst>
        </pc:graphicFrameChg>
      </pc:sldChg>
      <pc:sldChg chg="modSp">
        <pc:chgData name="Daniel Valero" userId="31dd2ff7-9a08-462f-9096-6c487a317220" providerId="ADAL" clId="{837AE27E-AC69-4B5B-A183-6739C373A177}" dt="2020-03-06T20:45:15.359" v="154"/>
        <pc:sldMkLst>
          <pc:docMk/>
          <pc:sldMk cId="3563492871" sldId="575"/>
        </pc:sldMkLst>
        <pc:spChg chg="mod">
          <ac:chgData name="Daniel Valero" userId="31dd2ff7-9a08-462f-9096-6c487a317220" providerId="ADAL" clId="{837AE27E-AC69-4B5B-A183-6739C373A177}" dt="2020-03-06T20:44:56.652" v="153"/>
          <ac:spMkLst>
            <pc:docMk/>
            <pc:sldMk cId="3563492871" sldId="575"/>
            <ac:spMk id="2" creationId="{BC57B38C-8413-4861-A4F5-7DF656AEAD0D}"/>
          </ac:spMkLst>
        </pc:spChg>
        <pc:spChg chg="mod">
          <ac:chgData name="Daniel Valero" userId="31dd2ff7-9a08-462f-9096-6c487a317220" providerId="ADAL" clId="{837AE27E-AC69-4B5B-A183-6739C373A177}" dt="2020-03-06T20:45:15.359" v="154"/>
          <ac:spMkLst>
            <pc:docMk/>
            <pc:sldMk cId="3563492871" sldId="575"/>
            <ac:spMk id="3" creationId="{4897B8F8-26DF-42FB-ACB0-59929F1C2344}"/>
          </ac:spMkLst>
        </pc:spChg>
      </pc:sldChg>
      <pc:sldChg chg="modSp mod">
        <pc:chgData name="Daniel Valero" userId="31dd2ff7-9a08-462f-9096-6c487a317220" providerId="ADAL" clId="{837AE27E-AC69-4B5B-A183-6739C373A177}" dt="2020-03-06T21:06:42.608" v="293"/>
        <pc:sldMkLst>
          <pc:docMk/>
          <pc:sldMk cId="1528516655" sldId="582"/>
        </pc:sldMkLst>
        <pc:spChg chg="mod">
          <ac:chgData name="Daniel Valero" userId="31dd2ff7-9a08-462f-9096-6c487a317220" providerId="ADAL" clId="{837AE27E-AC69-4B5B-A183-6739C373A177}" dt="2020-03-06T21:06:03.307" v="286"/>
          <ac:spMkLst>
            <pc:docMk/>
            <pc:sldMk cId="1528516655" sldId="582"/>
            <ac:spMk id="2" creationId="{BC57B38C-8413-4861-A4F5-7DF656AEAD0D}"/>
          </ac:spMkLst>
        </pc:spChg>
        <pc:spChg chg="mod">
          <ac:chgData name="Daniel Valero" userId="31dd2ff7-9a08-462f-9096-6c487a317220" providerId="ADAL" clId="{837AE27E-AC69-4B5B-A183-6739C373A177}" dt="2020-03-06T21:06:42.608" v="293"/>
          <ac:spMkLst>
            <pc:docMk/>
            <pc:sldMk cId="1528516655" sldId="582"/>
            <ac:spMk id="3" creationId="{4897B8F8-26DF-42FB-ACB0-59929F1C2344}"/>
          </ac:spMkLst>
        </pc:spChg>
      </pc:sldChg>
      <pc:sldChg chg="addSp delSp modSp mod">
        <pc:chgData name="Daniel Valero" userId="31dd2ff7-9a08-462f-9096-6c487a317220" providerId="ADAL" clId="{837AE27E-AC69-4B5B-A183-6739C373A177}" dt="2020-03-06T20:14:06.290" v="78" actId="478"/>
        <pc:sldMkLst>
          <pc:docMk/>
          <pc:sldMk cId="2669391059" sldId="596"/>
        </pc:sldMkLst>
        <pc:graphicFrameChg chg="add mod modGraphic">
          <ac:chgData name="Daniel Valero" userId="31dd2ff7-9a08-462f-9096-6c487a317220" providerId="ADAL" clId="{837AE27E-AC69-4B5B-A183-6739C373A177}" dt="2020-03-06T20:14:00.434" v="76" actId="255"/>
          <ac:graphicFrameMkLst>
            <pc:docMk/>
            <pc:sldMk cId="2669391059" sldId="596"/>
            <ac:graphicFrameMk id="4" creationId="{D437032D-66F5-4217-A6E7-5417D8E385E2}"/>
          </ac:graphicFrameMkLst>
        </pc:graphicFrameChg>
        <pc:graphicFrameChg chg="add del mod">
          <ac:chgData name="Daniel Valero" userId="31dd2ff7-9a08-462f-9096-6c487a317220" providerId="ADAL" clId="{837AE27E-AC69-4B5B-A183-6739C373A177}" dt="2020-03-06T20:14:06.290" v="78" actId="478"/>
          <ac:graphicFrameMkLst>
            <pc:docMk/>
            <pc:sldMk cId="2669391059" sldId="596"/>
            <ac:graphicFrameMk id="5" creationId="{6038F7FE-1DA1-4DBB-B788-2C7EB166AC5C}"/>
          </ac:graphicFrameMkLst>
        </pc:graphicFrameChg>
      </pc:sldChg>
      <pc:sldChg chg="modSp mod">
        <pc:chgData name="Daniel Valero" userId="31dd2ff7-9a08-462f-9096-6c487a317220" providerId="ADAL" clId="{837AE27E-AC69-4B5B-A183-6739C373A177}" dt="2020-03-06T20:10:55.175" v="53" actId="27636"/>
        <pc:sldMkLst>
          <pc:docMk/>
          <pc:sldMk cId="1097784745" sldId="598"/>
        </pc:sldMkLst>
        <pc:spChg chg="mod">
          <ac:chgData name="Daniel Valero" userId="31dd2ff7-9a08-462f-9096-6c487a317220" providerId="ADAL" clId="{837AE27E-AC69-4B5B-A183-6739C373A177}" dt="2020-03-06T20:10:55.175" v="53" actId="27636"/>
          <ac:spMkLst>
            <pc:docMk/>
            <pc:sldMk cId="1097784745" sldId="598"/>
            <ac:spMk id="4" creationId="{F3616A99-090F-45E1-9334-58D58B148205}"/>
          </ac:spMkLst>
        </pc:spChg>
        <pc:graphicFrameChg chg="mod">
          <ac:chgData name="Daniel Valero" userId="31dd2ff7-9a08-462f-9096-6c487a317220" providerId="ADAL" clId="{837AE27E-AC69-4B5B-A183-6739C373A177}" dt="2020-03-06T20:10:48.604" v="47" actId="1076"/>
          <ac:graphicFrameMkLst>
            <pc:docMk/>
            <pc:sldMk cId="1097784745" sldId="598"/>
            <ac:graphicFrameMk id="10" creationId="{FCEC238A-94EC-4139-86D0-C4CF104F2FA0}"/>
          </ac:graphicFrameMkLst>
        </pc:graphicFrameChg>
      </pc:sldChg>
      <pc:sldChg chg="modSp">
        <pc:chgData name="Daniel Valero" userId="31dd2ff7-9a08-462f-9096-6c487a317220" providerId="ADAL" clId="{837AE27E-AC69-4B5B-A183-6739C373A177}" dt="2020-03-06T20:17:28.908" v="79" actId="20577"/>
        <pc:sldMkLst>
          <pc:docMk/>
          <pc:sldMk cId="994038105" sldId="600"/>
        </pc:sldMkLst>
        <pc:spChg chg="mod">
          <ac:chgData name="Daniel Valero" userId="31dd2ff7-9a08-462f-9096-6c487a317220" providerId="ADAL" clId="{837AE27E-AC69-4B5B-A183-6739C373A177}" dt="2020-03-06T20:17:28.908" v="79" actId="20577"/>
          <ac:spMkLst>
            <pc:docMk/>
            <pc:sldMk cId="994038105" sldId="600"/>
            <ac:spMk id="27" creationId="{0EBCC322-8D94-4879-88A3-1EACCEE4E88A}"/>
          </ac:spMkLst>
        </pc:spChg>
      </pc:sldChg>
      <pc:sldChg chg="modSp">
        <pc:chgData name="Daniel Valero" userId="31dd2ff7-9a08-462f-9096-6c487a317220" providerId="ADAL" clId="{837AE27E-AC69-4B5B-A183-6739C373A177}" dt="2020-03-06T20:18:50.610" v="86" actId="20577"/>
        <pc:sldMkLst>
          <pc:docMk/>
          <pc:sldMk cId="3121385187" sldId="601"/>
        </pc:sldMkLst>
        <pc:graphicFrameChg chg="mod">
          <ac:chgData name="Daniel Valero" userId="31dd2ff7-9a08-462f-9096-6c487a317220" providerId="ADAL" clId="{837AE27E-AC69-4B5B-A183-6739C373A177}" dt="2020-03-06T20:18:50.610" v="86" actId="20577"/>
          <ac:graphicFrameMkLst>
            <pc:docMk/>
            <pc:sldMk cId="3121385187" sldId="601"/>
            <ac:graphicFrameMk id="4" creationId="{0A0551B6-9EC1-42BC-B15E-507686A09312}"/>
          </ac:graphicFrameMkLst>
        </pc:graphicFrameChg>
      </pc:sldChg>
      <pc:sldChg chg="modSp mod modAnim">
        <pc:chgData name="Daniel Valero" userId="31dd2ff7-9a08-462f-9096-6c487a317220" providerId="ADAL" clId="{837AE27E-AC69-4B5B-A183-6739C373A177}" dt="2020-03-06T20:38:36.097" v="152"/>
        <pc:sldMkLst>
          <pc:docMk/>
          <pc:sldMk cId="1081358570" sldId="603"/>
        </pc:sldMkLst>
        <pc:spChg chg="mod">
          <ac:chgData name="Daniel Valero" userId="31dd2ff7-9a08-462f-9096-6c487a317220" providerId="ADAL" clId="{837AE27E-AC69-4B5B-A183-6739C373A177}" dt="2020-03-06T20:37:13.580" v="136" actId="1076"/>
          <ac:spMkLst>
            <pc:docMk/>
            <pc:sldMk cId="1081358570" sldId="603"/>
            <ac:spMk id="22" creationId="{F261C6AE-C9E6-4EA3-9806-760F4DF13F16}"/>
          </ac:spMkLst>
        </pc:spChg>
        <pc:spChg chg="mod">
          <ac:chgData name="Daniel Valero" userId="31dd2ff7-9a08-462f-9096-6c487a317220" providerId="ADAL" clId="{837AE27E-AC69-4B5B-A183-6739C373A177}" dt="2020-03-06T20:38:34.908" v="150" actId="1076"/>
          <ac:spMkLst>
            <pc:docMk/>
            <pc:sldMk cId="1081358570" sldId="603"/>
            <ac:spMk id="35" creationId="{E82C582F-9E37-4CA1-87E3-276BF1DE4A34}"/>
          </ac:spMkLst>
        </pc:spChg>
      </pc:sldChg>
      <pc:sldChg chg="modSp mod">
        <pc:chgData name="Daniel Valero" userId="31dd2ff7-9a08-462f-9096-6c487a317220" providerId="ADAL" clId="{837AE27E-AC69-4B5B-A183-6739C373A177}" dt="2020-03-06T20:25:45.626" v="89" actId="1076"/>
        <pc:sldMkLst>
          <pc:docMk/>
          <pc:sldMk cId="3894491069" sldId="617"/>
        </pc:sldMkLst>
        <pc:graphicFrameChg chg="mod">
          <ac:chgData name="Daniel Valero" userId="31dd2ff7-9a08-462f-9096-6c487a317220" providerId="ADAL" clId="{837AE27E-AC69-4B5B-A183-6739C373A177}" dt="2020-03-06T20:25:45.626" v="89" actId="1076"/>
          <ac:graphicFrameMkLst>
            <pc:docMk/>
            <pc:sldMk cId="3894491069" sldId="617"/>
            <ac:graphicFrameMk id="4" creationId="{44ECF381-5A85-4152-A4A2-40DE21A6CB04}"/>
          </ac:graphicFrameMkLst>
        </pc:graphicFrameChg>
      </pc:sldChg>
      <pc:sldChg chg="delSp modSp mod delAnim">
        <pc:chgData name="Daniel Valero" userId="31dd2ff7-9a08-462f-9096-6c487a317220" providerId="ADAL" clId="{837AE27E-AC69-4B5B-A183-6739C373A177}" dt="2020-03-06T20:28:56.603" v="102" actId="1036"/>
        <pc:sldMkLst>
          <pc:docMk/>
          <pc:sldMk cId="508126509" sldId="618"/>
        </pc:sldMkLst>
        <pc:spChg chg="del">
          <ac:chgData name="Daniel Valero" userId="31dd2ff7-9a08-462f-9096-6c487a317220" providerId="ADAL" clId="{837AE27E-AC69-4B5B-A183-6739C373A177}" dt="2020-03-06T20:28:30.828" v="91" actId="478"/>
          <ac:spMkLst>
            <pc:docMk/>
            <pc:sldMk cId="508126509" sldId="618"/>
            <ac:spMk id="3" creationId="{03CE7E76-6007-458B-BC6E-FB49FBAE526B}"/>
          </ac:spMkLst>
        </pc:spChg>
        <pc:spChg chg="mod">
          <ac:chgData name="Daniel Valero" userId="31dd2ff7-9a08-462f-9096-6c487a317220" providerId="ADAL" clId="{837AE27E-AC69-4B5B-A183-6739C373A177}" dt="2020-03-06T20:28:51.915" v="100" actId="12788"/>
          <ac:spMkLst>
            <pc:docMk/>
            <pc:sldMk cId="508126509" sldId="618"/>
            <ac:spMk id="57" creationId="{1BEBD550-8228-458D-8D48-A68DF2E2C6E2}"/>
          </ac:spMkLst>
        </pc:spChg>
        <pc:spChg chg="mod">
          <ac:chgData name="Daniel Valero" userId="31dd2ff7-9a08-462f-9096-6c487a317220" providerId="ADAL" clId="{837AE27E-AC69-4B5B-A183-6739C373A177}" dt="2020-03-06T20:28:56.603" v="102" actId="1036"/>
          <ac:spMkLst>
            <pc:docMk/>
            <pc:sldMk cId="508126509" sldId="618"/>
            <ac:spMk id="60" creationId="{9B6A7B81-CD87-47D1-9723-F5106ADE7681}"/>
          </ac:spMkLst>
        </pc:spChg>
        <pc:spChg chg="mod">
          <ac:chgData name="Daniel Valero" userId="31dd2ff7-9a08-462f-9096-6c487a317220" providerId="ADAL" clId="{837AE27E-AC69-4B5B-A183-6739C373A177}" dt="2020-03-06T20:28:54.602" v="101" actId="1036"/>
          <ac:spMkLst>
            <pc:docMk/>
            <pc:sldMk cId="508126509" sldId="618"/>
            <ac:spMk id="63" creationId="{E733ADE8-00C8-4F4A-97C6-584F2E02292A}"/>
          </ac:spMkLst>
        </pc:spChg>
        <pc:spChg chg="mod">
          <ac:chgData name="Daniel Valero" userId="31dd2ff7-9a08-462f-9096-6c487a317220" providerId="ADAL" clId="{837AE27E-AC69-4B5B-A183-6739C373A177}" dt="2020-03-06T20:28:51.915" v="100" actId="12788"/>
          <ac:spMkLst>
            <pc:docMk/>
            <pc:sldMk cId="508126509" sldId="618"/>
            <ac:spMk id="66" creationId="{B99775AE-9318-4C07-B75D-8142D0524C45}"/>
          </ac:spMkLst>
        </pc:spChg>
        <pc:graphicFrameChg chg="mod">
          <ac:chgData name="Daniel Valero" userId="31dd2ff7-9a08-462f-9096-6c487a317220" providerId="ADAL" clId="{837AE27E-AC69-4B5B-A183-6739C373A177}" dt="2020-03-06T20:27:37.598" v="90" actId="13782"/>
          <ac:graphicFrameMkLst>
            <pc:docMk/>
            <pc:sldMk cId="508126509" sldId="618"/>
            <ac:graphicFrameMk id="2" creationId="{69309ACB-1DFC-421B-8DFA-80763FE75468}"/>
          </ac:graphicFrameMkLst>
        </pc:graphicFrameChg>
      </pc:sldChg>
      <pc:sldChg chg="modSp">
        <pc:chgData name="Daniel Valero" userId="31dd2ff7-9a08-462f-9096-6c487a317220" providerId="ADAL" clId="{837AE27E-AC69-4B5B-A183-6739C373A177}" dt="2020-03-06T20:30:24.520" v="114" actId="20577"/>
        <pc:sldMkLst>
          <pc:docMk/>
          <pc:sldMk cId="4286818092" sldId="620"/>
        </pc:sldMkLst>
        <pc:graphicFrameChg chg="mod">
          <ac:chgData name="Daniel Valero" userId="31dd2ff7-9a08-462f-9096-6c487a317220" providerId="ADAL" clId="{837AE27E-AC69-4B5B-A183-6739C373A177}" dt="2020-03-06T20:30:24.520" v="114" actId="20577"/>
          <ac:graphicFrameMkLst>
            <pc:docMk/>
            <pc:sldMk cId="4286818092" sldId="620"/>
            <ac:graphicFrameMk id="4" creationId="{A5CB17EB-D61B-46D3-8502-A0E25AA528E4}"/>
          </ac:graphicFrameMkLst>
        </pc:graphicFrameChg>
      </pc:sldChg>
      <pc:sldChg chg="addSp delSp modSp mod">
        <pc:chgData name="Daniel Valero" userId="31dd2ff7-9a08-462f-9096-6c487a317220" providerId="ADAL" clId="{837AE27E-AC69-4B5B-A183-6739C373A177}" dt="2020-03-06T20:35:45.999" v="125"/>
        <pc:sldMkLst>
          <pc:docMk/>
          <pc:sldMk cId="1030677442" sldId="621"/>
        </pc:sldMkLst>
        <pc:spChg chg="add del mod">
          <ac:chgData name="Daniel Valero" userId="31dd2ff7-9a08-462f-9096-6c487a317220" providerId="ADAL" clId="{837AE27E-AC69-4B5B-A183-6739C373A177}" dt="2020-03-06T20:35:40.706" v="122" actId="478"/>
          <ac:spMkLst>
            <pc:docMk/>
            <pc:sldMk cId="1030677442" sldId="621"/>
            <ac:spMk id="5" creationId="{C5CC449F-F4B7-4BB6-B65B-D7E12B7F43C8}"/>
          </ac:spMkLst>
        </pc:spChg>
        <pc:spChg chg="del">
          <ac:chgData name="Daniel Valero" userId="31dd2ff7-9a08-462f-9096-6c487a317220" providerId="ADAL" clId="{837AE27E-AC69-4B5B-A183-6739C373A177}" dt="2020-03-06T20:35:38.580" v="121" actId="478"/>
          <ac:spMkLst>
            <pc:docMk/>
            <pc:sldMk cId="1030677442" sldId="621"/>
            <ac:spMk id="6" creationId="{70F92798-54C4-42CE-9509-349D1E88B39C}"/>
          </ac:spMkLst>
        </pc:spChg>
        <pc:spChg chg="add del">
          <ac:chgData name="Daniel Valero" userId="31dd2ff7-9a08-462f-9096-6c487a317220" providerId="ADAL" clId="{837AE27E-AC69-4B5B-A183-6739C373A177}" dt="2020-03-06T20:35:45.122" v="124"/>
          <ac:spMkLst>
            <pc:docMk/>
            <pc:sldMk cId="1030677442" sldId="621"/>
            <ac:spMk id="8" creationId="{41CE7D3D-0AA0-4295-8B37-9F7EDE59197C}"/>
          </ac:spMkLst>
        </pc:spChg>
        <pc:spChg chg="add">
          <ac:chgData name="Daniel Valero" userId="31dd2ff7-9a08-462f-9096-6c487a317220" providerId="ADAL" clId="{837AE27E-AC69-4B5B-A183-6739C373A177}" dt="2020-03-06T20:35:45.999" v="125"/>
          <ac:spMkLst>
            <pc:docMk/>
            <pc:sldMk cId="1030677442" sldId="621"/>
            <ac:spMk id="10" creationId="{CB308758-B0BD-4B2D-B6F5-6D685175E3EE}"/>
          </ac:spMkLst>
        </pc:spChg>
        <pc:graphicFrameChg chg="del">
          <ac:chgData name="Daniel Valero" userId="31dd2ff7-9a08-462f-9096-6c487a317220" providerId="ADAL" clId="{837AE27E-AC69-4B5B-A183-6739C373A177}" dt="2020-03-06T20:35:38.580" v="121" actId="478"/>
          <ac:graphicFrameMkLst>
            <pc:docMk/>
            <pc:sldMk cId="1030677442" sldId="621"/>
            <ac:graphicFrameMk id="7" creationId="{8054562B-EDA4-4A5F-95DF-6B68DF7EFF40}"/>
          </ac:graphicFrameMkLst>
        </pc:graphicFrameChg>
        <pc:graphicFrameChg chg="add del">
          <ac:chgData name="Daniel Valero" userId="31dd2ff7-9a08-462f-9096-6c487a317220" providerId="ADAL" clId="{837AE27E-AC69-4B5B-A183-6739C373A177}" dt="2020-03-06T20:35:45.122" v="124"/>
          <ac:graphicFrameMkLst>
            <pc:docMk/>
            <pc:sldMk cId="1030677442" sldId="621"/>
            <ac:graphicFrameMk id="9" creationId="{A77222A7-9FDE-4A70-9EEB-7D9A0572DF61}"/>
          </ac:graphicFrameMkLst>
        </pc:graphicFrameChg>
        <pc:graphicFrameChg chg="add">
          <ac:chgData name="Daniel Valero" userId="31dd2ff7-9a08-462f-9096-6c487a317220" providerId="ADAL" clId="{837AE27E-AC69-4B5B-A183-6739C373A177}" dt="2020-03-06T20:35:45.999" v="125"/>
          <ac:graphicFrameMkLst>
            <pc:docMk/>
            <pc:sldMk cId="1030677442" sldId="621"/>
            <ac:graphicFrameMk id="11" creationId="{0AAB9A74-97B2-4496-83A1-E9E0CC918D1D}"/>
          </ac:graphicFrameMkLst>
        </pc:graphicFrameChg>
      </pc:sldChg>
      <pc:sldChg chg="addSp modSp mod">
        <pc:chgData name="Daniel Valero" userId="31dd2ff7-9a08-462f-9096-6c487a317220" providerId="ADAL" clId="{837AE27E-AC69-4B5B-A183-6739C373A177}" dt="2020-03-06T20:09:48.248" v="36" actId="20577"/>
        <pc:sldMkLst>
          <pc:docMk/>
          <pc:sldMk cId="3727622838" sldId="622"/>
        </pc:sldMkLst>
        <pc:spChg chg="mod">
          <ac:chgData name="Daniel Valero" userId="31dd2ff7-9a08-462f-9096-6c487a317220" providerId="ADAL" clId="{837AE27E-AC69-4B5B-A183-6739C373A177}" dt="2020-03-06T20:08:30.069" v="12" actId="1076"/>
          <ac:spMkLst>
            <pc:docMk/>
            <pc:sldMk cId="3727622838" sldId="622"/>
            <ac:spMk id="2" creationId="{EB67312A-9819-43C6-8D84-D9136E6CFFCC}"/>
          </ac:spMkLst>
        </pc:spChg>
        <pc:spChg chg="mod">
          <ac:chgData name="Daniel Valero" userId="31dd2ff7-9a08-462f-9096-6c487a317220" providerId="ADAL" clId="{837AE27E-AC69-4B5B-A183-6739C373A177}" dt="2020-03-06T20:08:45.322" v="18" actId="164"/>
          <ac:spMkLst>
            <pc:docMk/>
            <pc:sldMk cId="3727622838" sldId="622"/>
            <ac:spMk id="6" creationId="{169E72AA-BB18-4896-B740-EFF2AF1D1445}"/>
          </ac:spMkLst>
        </pc:spChg>
        <pc:spChg chg="mod">
          <ac:chgData name="Daniel Valero" userId="31dd2ff7-9a08-462f-9096-6c487a317220" providerId="ADAL" clId="{837AE27E-AC69-4B5B-A183-6739C373A177}" dt="2020-03-06T20:08:45.322" v="18" actId="164"/>
          <ac:spMkLst>
            <pc:docMk/>
            <pc:sldMk cId="3727622838" sldId="622"/>
            <ac:spMk id="7" creationId="{1ACA28AE-0391-4926-ADCC-37A802323BB7}"/>
          </ac:spMkLst>
        </pc:spChg>
        <pc:spChg chg="mod">
          <ac:chgData name="Daniel Valero" userId="31dd2ff7-9a08-462f-9096-6c487a317220" providerId="ADAL" clId="{837AE27E-AC69-4B5B-A183-6739C373A177}" dt="2020-03-06T20:08:45.322" v="18" actId="164"/>
          <ac:spMkLst>
            <pc:docMk/>
            <pc:sldMk cId="3727622838" sldId="622"/>
            <ac:spMk id="8" creationId="{11E6287D-903E-465A-BF53-468599B77B3D}"/>
          </ac:spMkLst>
        </pc:spChg>
        <pc:spChg chg="mod">
          <ac:chgData name="Daniel Valero" userId="31dd2ff7-9a08-462f-9096-6c487a317220" providerId="ADAL" clId="{837AE27E-AC69-4B5B-A183-6739C373A177}" dt="2020-03-06T20:08:45.322" v="18" actId="164"/>
          <ac:spMkLst>
            <pc:docMk/>
            <pc:sldMk cId="3727622838" sldId="622"/>
            <ac:spMk id="9" creationId="{C3C59E8B-3CB8-4F4A-B6E6-7EBF7C5DC086}"/>
          </ac:spMkLst>
        </pc:spChg>
        <pc:grpChg chg="add mod">
          <ac:chgData name="Daniel Valero" userId="31dd2ff7-9a08-462f-9096-6c487a317220" providerId="ADAL" clId="{837AE27E-AC69-4B5B-A183-6739C373A177}" dt="2020-03-06T20:08:40.400" v="17" actId="164"/>
          <ac:grpSpMkLst>
            <pc:docMk/>
            <pc:sldMk cId="3727622838" sldId="622"/>
            <ac:grpSpMk id="4" creationId="{126711A0-642B-496F-95EA-E3E3D34948F4}"/>
          </ac:grpSpMkLst>
        </pc:grpChg>
        <pc:grpChg chg="add mod">
          <ac:chgData name="Daniel Valero" userId="31dd2ff7-9a08-462f-9096-6c487a317220" providerId="ADAL" clId="{837AE27E-AC69-4B5B-A183-6739C373A177}" dt="2020-03-06T20:08:48.487" v="19" actId="1076"/>
          <ac:grpSpMkLst>
            <pc:docMk/>
            <pc:sldMk cId="3727622838" sldId="622"/>
            <ac:grpSpMk id="11" creationId="{D37515E2-2A06-4908-A887-DF1D171EEAD6}"/>
          </ac:grpSpMkLst>
        </pc:grpChg>
        <pc:graphicFrameChg chg="mod">
          <ac:chgData name="Daniel Valero" userId="31dd2ff7-9a08-462f-9096-6c487a317220" providerId="ADAL" clId="{837AE27E-AC69-4B5B-A183-6739C373A177}" dt="2020-03-06T20:08:45.322" v="18" actId="164"/>
          <ac:graphicFrameMkLst>
            <pc:docMk/>
            <pc:sldMk cId="3727622838" sldId="622"/>
            <ac:graphicFrameMk id="5" creationId="{D7AA4849-9265-4768-8404-82A32BB2007A}"/>
          </ac:graphicFrameMkLst>
        </pc:graphicFrameChg>
        <pc:graphicFrameChg chg="mod">
          <ac:chgData name="Daniel Valero" userId="31dd2ff7-9a08-462f-9096-6c487a317220" providerId="ADAL" clId="{837AE27E-AC69-4B5B-A183-6739C373A177}" dt="2020-03-06T20:09:48.248" v="36" actId="20577"/>
          <ac:graphicFrameMkLst>
            <pc:docMk/>
            <pc:sldMk cId="3727622838" sldId="622"/>
            <ac:graphicFrameMk id="10" creationId="{5A2BA549-9659-4CD7-888E-C537D5FFC7E6}"/>
          </ac:graphicFrameMkLst>
        </pc:graphicFrameChg>
      </pc:sldChg>
      <pc:sldChg chg="modSp mod modNotesTx">
        <pc:chgData name="Daniel Valero" userId="31dd2ff7-9a08-462f-9096-6c487a317220" providerId="ADAL" clId="{837AE27E-AC69-4B5B-A183-6739C373A177}" dt="2020-03-06T21:00:57.786" v="231" actId="6549"/>
        <pc:sldMkLst>
          <pc:docMk/>
          <pc:sldMk cId="743094843" sldId="626"/>
        </pc:sldMkLst>
        <pc:spChg chg="mod">
          <ac:chgData name="Daniel Valero" userId="31dd2ff7-9a08-462f-9096-6c487a317220" providerId="ADAL" clId="{837AE27E-AC69-4B5B-A183-6739C373A177}" dt="2020-03-06T21:00:57.786" v="231" actId="6549"/>
          <ac:spMkLst>
            <pc:docMk/>
            <pc:sldMk cId="743094843" sldId="626"/>
            <ac:spMk id="4" creationId="{F3616A99-090F-45E1-9334-58D58B148205}"/>
          </ac:spMkLst>
        </pc:spChg>
      </pc:sldChg>
      <pc:sldChg chg="modSp mod">
        <pc:chgData name="Daniel Valero" userId="31dd2ff7-9a08-462f-9096-6c487a317220" providerId="ADAL" clId="{837AE27E-AC69-4B5B-A183-6739C373A177}" dt="2020-03-06T21:03:27.009" v="278" actId="1076"/>
        <pc:sldMkLst>
          <pc:docMk/>
          <pc:sldMk cId="2024360696" sldId="627"/>
        </pc:sldMkLst>
        <pc:spChg chg="mod">
          <ac:chgData name="Daniel Valero" userId="31dd2ff7-9a08-462f-9096-6c487a317220" providerId="ADAL" clId="{837AE27E-AC69-4B5B-A183-6739C373A177}" dt="2020-03-06T21:03:24.682" v="277" actId="14100"/>
          <ac:spMkLst>
            <pc:docMk/>
            <pc:sldMk cId="2024360696" sldId="627"/>
            <ac:spMk id="4" creationId="{F3616A99-090F-45E1-9334-58D58B148205}"/>
          </ac:spMkLst>
        </pc:spChg>
        <pc:graphicFrameChg chg="mod">
          <ac:chgData name="Daniel Valero" userId="31dd2ff7-9a08-462f-9096-6c487a317220" providerId="ADAL" clId="{837AE27E-AC69-4B5B-A183-6739C373A177}" dt="2020-03-06T21:03:27.009" v="278" actId="1076"/>
          <ac:graphicFrameMkLst>
            <pc:docMk/>
            <pc:sldMk cId="2024360696" sldId="627"/>
            <ac:graphicFrameMk id="6" creationId="{F967AF4A-2A1C-462A-B644-579C945DCE1E}"/>
          </ac:graphicFrameMkLst>
        </pc:graphicFrameChg>
      </pc:sldChg>
      <pc:sldChg chg="addSp delSp modSp mod">
        <pc:chgData name="Daniel Valero" userId="31dd2ff7-9a08-462f-9096-6c487a317220" providerId="ADAL" clId="{837AE27E-AC69-4B5B-A183-6739C373A177}" dt="2020-03-06T20:57:15.631" v="215" actId="20577"/>
        <pc:sldMkLst>
          <pc:docMk/>
          <pc:sldMk cId="3702163554" sldId="630"/>
        </pc:sldMkLst>
        <pc:spChg chg="add del mod">
          <ac:chgData name="Daniel Valero" userId="31dd2ff7-9a08-462f-9096-6c487a317220" providerId="ADAL" clId="{837AE27E-AC69-4B5B-A183-6739C373A177}" dt="2020-03-06T20:56:35.955" v="206" actId="478"/>
          <ac:spMkLst>
            <pc:docMk/>
            <pc:sldMk cId="3702163554" sldId="630"/>
            <ac:spMk id="7" creationId="{909EA450-D09A-43A9-88A8-63414C69F81A}"/>
          </ac:spMkLst>
        </pc:spChg>
        <pc:spChg chg="add del">
          <ac:chgData name="Daniel Valero" userId="31dd2ff7-9a08-462f-9096-6c487a317220" providerId="ADAL" clId="{837AE27E-AC69-4B5B-A183-6739C373A177}" dt="2020-03-06T20:56:35.026" v="204"/>
          <ac:spMkLst>
            <pc:docMk/>
            <pc:sldMk cId="3702163554" sldId="630"/>
            <ac:spMk id="8" creationId="{AAB384DC-A9A2-4795-A449-3DE9F8AB4141}"/>
          </ac:spMkLst>
        </pc:spChg>
        <pc:spChg chg="add mod">
          <ac:chgData name="Daniel Valero" userId="31dd2ff7-9a08-462f-9096-6c487a317220" providerId="ADAL" clId="{837AE27E-AC69-4B5B-A183-6739C373A177}" dt="2020-03-06T20:57:15.631" v="215" actId="20577"/>
          <ac:spMkLst>
            <pc:docMk/>
            <pc:sldMk cId="3702163554" sldId="630"/>
            <ac:spMk id="10" creationId="{2112D96C-AB9F-4924-8996-4DEFF0DEC136}"/>
          </ac:spMkLst>
        </pc:spChg>
        <pc:graphicFrameChg chg="add del mod">
          <ac:chgData name="Daniel Valero" userId="31dd2ff7-9a08-462f-9096-6c487a317220" providerId="ADAL" clId="{837AE27E-AC69-4B5B-A183-6739C373A177}" dt="2020-03-06T20:57:03.669" v="208" actId="478"/>
          <ac:graphicFrameMkLst>
            <pc:docMk/>
            <pc:sldMk cId="3702163554" sldId="630"/>
            <ac:graphicFrameMk id="4" creationId="{1B788303-8EA3-412B-B41D-DEC47C2A526F}"/>
          </ac:graphicFrameMkLst>
        </pc:graphicFrameChg>
      </pc:sldChg>
      <pc:sldChg chg="modSp mod">
        <pc:chgData name="Daniel Valero" userId="31dd2ff7-9a08-462f-9096-6c487a317220" providerId="ADAL" clId="{837AE27E-AC69-4B5B-A183-6739C373A177}" dt="2020-03-06T20:54:41.345" v="196"/>
        <pc:sldMkLst>
          <pc:docMk/>
          <pc:sldMk cId="1566102222" sldId="634"/>
        </pc:sldMkLst>
        <pc:spChg chg="mod">
          <ac:chgData name="Daniel Valero" userId="31dd2ff7-9a08-462f-9096-6c487a317220" providerId="ADAL" clId="{837AE27E-AC69-4B5B-A183-6739C373A177}" dt="2020-03-06T20:54:41.345" v="196"/>
          <ac:spMkLst>
            <pc:docMk/>
            <pc:sldMk cId="1566102222" sldId="634"/>
            <ac:spMk id="4" creationId="{F3616A99-090F-45E1-9334-58D58B148205}"/>
          </ac:spMkLst>
        </pc:spChg>
      </pc:sldChg>
      <pc:sldChg chg="modSp mod">
        <pc:chgData name="Daniel Valero" userId="31dd2ff7-9a08-462f-9096-6c487a317220" providerId="ADAL" clId="{837AE27E-AC69-4B5B-A183-6739C373A177}" dt="2020-03-06T20:54:34.646" v="195" actId="20577"/>
        <pc:sldMkLst>
          <pc:docMk/>
          <pc:sldMk cId="2109418391" sldId="636"/>
        </pc:sldMkLst>
        <pc:spChg chg="mod">
          <ac:chgData name="Daniel Valero" userId="31dd2ff7-9a08-462f-9096-6c487a317220" providerId="ADAL" clId="{837AE27E-AC69-4B5B-A183-6739C373A177}" dt="2020-03-06T20:54:34.646" v="195" actId="20577"/>
          <ac:spMkLst>
            <pc:docMk/>
            <pc:sldMk cId="2109418391" sldId="636"/>
            <ac:spMk id="4" creationId="{F3616A99-090F-45E1-9334-58D58B148205}"/>
          </ac:spMkLst>
        </pc:spChg>
      </pc:sldChg>
      <pc:sldChg chg="modSp">
        <pc:chgData name="Daniel Valero" userId="31dd2ff7-9a08-462f-9096-6c487a317220" providerId="ADAL" clId="{837AE27E-AC69-4B5B-A183-6739C373A177}" dt="2020-03-06T20:55:40.566" v="200"/>
        <pc:sldMkLst>
          <pc:docMk/>
          <pc:sldMk cId="877878254" sldId="637"/>
        </pc:sldMkLst>
        <pc:spChg chg="mod">
          <ac:chgData name="Daniel Valero" userId="31dd2ff7-9a08-462f-9096-6c487a317220" providerId="ADAL" clId="{837AE27E-AC69-4B5B-A183-6739C373A177}" dt="2020-03-06T20:55:40.566" v="200"/>
          <ac:spMkLst>
            <pc:docMk/>
            <pc:sldMk cId="877878254" sldId="637"/>
            <ac:spMk id="5" creationId="{1AD8A9F0-64D5-48AF-A056-EB187C5F6CEC}"/>
          </ac:spMkLst>
        </pc:spChg>
      </pc:sldChg>
      <pc:sldChg chg="modSp">
        <pc:chgData name="Daniel Valero" userId="31dd2ff7-9a08-462f-9096-6c487a317220" providerId="ADAL" clId="{837AE27E-AC69-4B5B-A183-6739C373A177}" dt="2020-03-06T20:58:00.393" v="217"/>
        <pc:sldMkLst>
          <pc:docMk/>
          <pc:sldMk cId="2014377657" sldId="638"/>
        </pc:sldMkLst>
        <pc:spChg chg="mod">
          <ac:chgData name="Daniel Valero" userId="31dd2ff7-9a08-462f-9096-6c487a317220" providerId="ADAL" clId="{837AE27E-AC69-4B5B-A183-6739C373A177}" dt="2020-03-06T20:58:00.393" v="217"/>
          <ac:spMkLst>
            <pc:docMk/>
            <pc:sldMk cId="2014377657" sldId="638"/>
            <ac:spMk id="5" creationId="{1AD8A9F0-64D5-48AF-A056-EB187C5F6CEC}"/>
          </ac:spMkLst>
        </pc:spChg>
      </pc:sldChg>
      <pc:sldChg chg="modSp mod">
        <pc:chgData name="Daniel Valero" userId="31dd2ff7-9a08-462f-9096-6c487a317220" providerId="ADAL" clId="{837AE27E-AC69-4B5B-A183-6739C373A177}" dt="2020-03-06T21:00:06.359" v="223" actId="20577"/>
        <pc:sldMkLst>
          <pc:docMk/>
          <pc:sldMk cId="3484407754" sldId="639"/>
        </pc:sldMkLst>
        <pc:spChg chg="mod">
          <ac:chgData name="Daniel Valero" userId="31dd2ff7-9a08-462f-9096-6c487a317220" providerId="ADAL" clId="{837AE27E-AC69-4B5B-A183-6739C373A177}" dt="2020-03-06T21:00:06.359" v="223" actId="20577"/>
          <ac:spMkLst>
            <pc:docMk/>
            <pc:sldMk cId="3484407754" sldId="639"/>
            <ac:spMk id="5" creationId="{1AD8A9F0-64D5-48AF-A056-EB187C5F6CEC}"/>
          </ac:spMkLst>
        </pc:spChg>
      </pc:sldChg>
      <pc:sldChg chg="modSp mod">
        <pc:chgData name="Daniel Valero" userId="31dd2ff7-9a08-462f-9096-6c487a317220" providerId="ADAL" clId="{837AE27E-AC69-4B5B-A183-6739C373A177}" dt="2020-03-06T21:05:36.007" v="285" actId="20577"/>
        <pc:sldMkLst>
          <pc:docMk/>
          <pc:sldMk cId="3277872637" sldId="641"/>
        </pc:sldMkLst>
        <pc:spChg chg="mod">
          <ac:chgData name="Daniel Valero" userId="31dd2ff7-9a08-462f-9096-6c487a317220" providerId="ADAL" clId="{837AE27E-AC69-4B5B-A183-6739C373A177}" dt="2020-03-06T21:05:36.007" v="285" actId="20577"/>
          <ac:spMkLst>
            <pc:docMk/>
            <pc:sldMk cId="3277872637" sldId="641"/>
            <ac:spMk id="5" creationId="{1AD8A9F0-64D5-48AF-A056-EB187C5F6CEC}"/>
          </ac:spMkLst>
        </pc:spChg>
      </pc:sldChg>
      <pc:sldChg chg="modSp mod">
        <pc:chgData name="Daniel Valero" userId="31dd2ff7-9a08-462f-9096-6c487a317220" providerId="ADAL" clId="{837AE27E-AC69-4B5B-A183-6739C373A177}" dt="2020-03-06T21:04:01.814" v="282" actId="20577"/>
        <pc:sldMkLst>
          <pc:docMk/>
          <pc:sldMk cId="3560969285" sldId="642"/>
        </pc:sldMkLst>
        <pc:spChg chg="mod">
          <ac:chgData name="Daniel Valero" userId="31dd2ff7-9a08-462f-9096-6c487a317220" providerId="ADAL" clId="{837AE27E-AC69-4B5B-A183-6739C373A177}" dt="2020-03-06T21:04:01.814" v="282" actId="20577"/>
          <ac:spMkLst>
            <pc:docMk/>
            <pc:sldMk cId="3560969285" sldId="642"/>
            <ac:spMk id="5" creationId="{1AD8A9F0-64D5-48AF-A056-EB187C5F6CEC}"/>
          </ac:spMkLst>
        </pc:spChg>
      </pc:sldChg>
    </pc:docChg>
  </pc:docChgLst>
  <pc:docChgLst>
    <pc:chgData name="Batuhan Yildiz" userId="90f344fc-4655-4923-aeaf-697bba59c1a7" providerId="ADAL" clId="{73D0611D-A011-47A1-B2AD-14FD4A842E01}"/>
    <pc:docChg chg="undo custSel delSld modSld delSection modSection">
      <pc:chgData name="Batuhan Yildiz" userId="90f344fc-4655-4923-aeaf-697bba59c1a7" providerId="ADAL" clId="{73D0611D-A011-47A1-B2AD-14FD4A842E01}" dt="2020-01-30T08:11:45.946" v="225" actId="17851"/>
      <pc:docMkLst>
        <pc:docMk/>
      </pc:docMkLst>
      <pc:sldChg chg="modSp mod">
        <pc:chgData name="Batuhan Yildiz" userId="90f344fc-4655-4923-aeaf-697bba59c1a7" providerId="ADAL" clId="{73D0611D-A011-47A1-B2AD-14FD4A842E01}" dt="2020-01-30T08:01:56.455" v="12" actId="20577"/>
        <pc:sldMkLst>
          <pc:docMk/>
          <pc:sldMk cId="1196121053" sldId="260"/>
        </pc:sldMkLst>
        <pc:spChg chg="mod">
          <ac:chgData name="Batuhan Yildiz" userId="90f344fc-4655-4923-aeaf-697bba59c1a7" providerId="ADAL" clId="{73D0611D-A011-47A1-B2AD-14FD4A842E01}" dt="2020-01-30T08:01:51.602" v="10" actId="20577"/>
          <ac:spMkLst>
            <pc:docMk/>
            <pc:sldMk cId="1196121053" sldId="260"/>
            <ac:spMk id="4" creationId="{5D85DF47-300F-4085-B774-DDE734B96F99}"/>
          </ac:spMkLst>
        </pc:spChg>
        <pc:spChg chg="mod">
          <ac:chgData name="Batuhan Yildiz" userId="90f344fc-4655-4923-aeaf-697bba59c1a7" providerId="ADAL" clId="{73D0611D-A011-47A1-B2AD-14FD4A842E01}" dt="2020-01-30T08:01:56.455" v="12" actId="20577"/>
          <ac:spMkLst>
            <pc:docMk/>
            <pc:sldMk cId="1196121053" sldId="260"/>
            <ac:spMk id="5" creationId="{806AE5AE-CAF0-4BF4-872E-C97AF8874A6F}"/>
          </ac:spMkLst>
        </pc:spChg>
      </pc:sldChg>
      <pc:sldChg chg="modSp mod">
        <pc:chgData name="Batuhan Yildiz" userId="90f344fc-4655-4923-aeaf-697bba59c1a7" providerId="ADAL" clId="{73D0611D-A011-47A1-B2AD-14FD4A842E01}" dt="2020-01-30T08:05:04.119" v="75" actId="20577"/>
        <pc:sldMkLst>
          <pc:docMk/>
          <pc:sldMk cId="2621600474" sldId="534"/>
        </pc:sldMkLst>
        <pc:spChg chg="mod">
          <ac:chgData name="Batuhan Yildiz" userId="90f344fc-4655-4923-aeaf-697bba59c1a7" providerId="ADAL" clId="{73D0611D-A011-47A1-B2AD-14FD4A842E01}" dt="2020-01-30T08:05:04.119" v="75" actId="20577"/>
          <ac:spMkLst>
            <pc:docMk/>
            <pc:sldMk cId="2621600474" sldId="534"/>
            <ac:spMk id="5" creationId="{55182462-DFDF-4D48-A92C-42FD52821C4E}"/>
          </ac:spMkLst>
        </pc:spChg>
      </pc:sldChg>
      <pc:sldChg chg="modSp mod">
        <pc:chgData name="Batuhan Yildiz" userId="90f344fc-4655-4923-aeaf-697bba59c1a7" providerId="ADAL" clId="{73D0611D-A011-47A1-B2AD-14FD4A842E01}" dt="2020-01-30T08:03:02.729" v="18" actId="14100"/>
        <pc:sldMkLst>
          <pc:docMk/>
          <pc:sldMk cId="4083746080" sldId="561"/>
        </pc:sldMkLst>
        <pc:spChg chg="mod">
          <ac:chgData name="Batuhan Yildiz" userId="90f344fc-4655-4923-aeaf-697bba59c1a7" providerId="ADAL" clId="{73D0611D-A011-47A1-B2AD-14FD4A842E01}" dt="2020-01-30T08:03:02.729" v="18" actId="14100"/>
          <ac:spMkLst>
            <pc:docMk/>
            <pc:sldMk cId="4083746080" sldId="561"/>
            <ac:spMk id="2" creationId="{74CD77A6-E28D-4D8D-9FE5-64ADAA827AC9}"/>
          </ac:spMkLst>
        </pc:spChg>
      </pc:sldChg>
      <pc:sldChg chg="modSp mod">
        <pc:chgData name="Batuhan Yildiz" userId="90f344fc-4655-4923-aeaf-697bba59c1a7" providerId="ADAL" clId="{73D0611D-A011-47A1-B2AD-14FD4A842E01}" dt="2020-01-30T08:02:33.981" v="14" actId="14100"/>
        <pc:sldMkLst>
          <pc:docMk/>
          <pc:sldMk cId="1615560134" sldId="562"/>
        </pc:sldMkLst>
        <pc:spChg chg="mod">
          <ac:chgData name="Batuhan Yildiz" userId="90f344fc-4655-4923-aeaf-697bba59c1a7" providerId="ADAL" clId="{73D0611D-A011-47A1-B2AD-14FD4A842E01}" dt="2020-01-30T08:02:33.981" v="14" actId="14100"/>
          <ac:spMkLst>
            <pc:docMk/>
            <pc:sldMk cId="1615560134" sldId="562"/>
            <ac:spMk id="3" creationId="{859B2BAE-A383-4E74-B3CF-9AC64DA11727}"/>
          </ac:spMkLst>
        </pc:spChg>
      </pc:sldChg>
      <pc:sldChg chg="modSp">
        <pc:chgData name="Batuhan Yildiz" userId="90f344fc-4655-4923-aeaf-697bba59c1a7" providerId="ADAL" clId="{73D0611D-A011-47A1-B2AD-14FD4A842E01}" dt="2020-01-30T08:05:37.854" v="76"/>
        <pc:sldMkLst>
          <pc:docMk/>
          <pc:sldMk cId="289400407" sldId="564"/>
        </pc:sldMkLst>
        <pc:spChg chg="mod">
          <ac:chgData name="Batuhan Yildiz" userId="90f344fc-4655-4923-aeaf-697bba59c1a7" providerId="ADAL" clId="{73D0611D-A011-47A1-B2AD-14FD4A842E01}" dt="2020-01-30T08:05:37.854" v="76"/>
          <ac:spMkLst>
            <pc:docMk/>
            <pc:sldMk cId="289400407" sldId="564"/>
            <ac:spMk id="2" creationId="{74CD77A6-E28D-4D8D-9FE5-64ADAA827AC9}"/>
          </ac:spMkLst>
        </pc:spChg>
      </pc:sldChg>
      <pc:sldChg chg="modSp mod">
        <pc:chgData name="Batuhan Yildiz" userId="90f344fc-4655-4923-aeaf-697bba59c1a7" providerId="ADAL" clId="{73D0611D-A011-47A1-B2AD-14FD4A842E01}" dt="2020-01-30T08:08:29.799" v="134" actId="6549"/>
        <pc:sldMkLst>
          <pc:docMk/>
          <pc:sldMk cId="2034824179" sldId="565"/>
        </pc:sldMkLst>
        <pc:spChg chg="mod">
          <ac:chgData name="Batuhan Yildiz" userId="90f344fc-4655-4923-aeaf-697bba59c1a7" providerId="ADAL" clId="{73D0611D-A011-47A1-B2AD-14FD4A842E01}" dt="2020-01-30T08:08:29.799" v="134" actId="6549"/>
          <ac:spMkLst>
            <pc:docMk/>
            <pc:sldMk cId="2034824179" sldId="565"/>
            <ac:spMk id="5" creationId="{55182462-DFDF-4D48-A92C-42FD52821C4E}"/>
          </ac:spMkLst>
        </pc:spChg>
      </pc:sldChg>
      <pc:sldChg chg="modSp">
        <pc:chgData name="Batuhan Yildiz" userId="90f344fc-4655-4923-aeaf-697bba59c1a7" providerId="ADAL" clId="{73D0611D-A011-47A1-B2AD-14FD4A842E01}" dt="2020-01-30T08:08:56.695" v="135"/>
        <pc:sldMkLst>
          <pc:docMk/>
          <pc:sldMk cId="57495843" sldId="571"/>
        </pc:sldMkLst>
        <pc:spChg chg="mod">
          <ac:chgData name="Batuhan Yildiz" userId="90f344fc-4655-4923-aeaf-697bba59c1a7" providerId="ADAL" clId="{73D0611D-A011-47A1-B2AD-14FD4A842E01}" dt="2020-01-30T08:08:56.695" v="135"/>
          <ac:spMkLst>
            <pc:docMk/>
            <pc:sldMk cId="57495843" sldId="571"/>
            <ac:spMk id="2" creationId="{74CD77A6-E28D-4D8D-9FE5-64ADAA827AC9}"/>
          </ac:spMkLst>
        </pc:spChg>
      </pc:sldChg>
      <pc:sldChg chg="modSp mod">
        <pc:chgData name="Batuhan Yildiz" userId="90f344fc-4655-4923-aeaf-697bba59c1a7" providerId="ADAL" clId="{73D0611D-A011-47A1-B2AD-14FD4A842E01}" dt="2020-01-30T08:10:43.661" v="220" actId="20577"/>
        <pc:sldMkLst>
          <pc:docMk/>
          <pc:sldMk cId="2314306782" sldId="572"/>
        </pc:sldMkLst>
        <pc:spChg chg="mod">
          <ac:chgData name="Batuhan Yildiz" userId="90f344fc-4655-4923-aeaf-697bba59c1a7" providerId="ADAL" clId="{73D0611D-A011-47A1-B2AD-14FD4A842E01}" dt="2020-01-30T08:10:43.661" v="220" actId="20577"/>
          <ac:spMkLst>
            <pc:docMk/>
            <pc:sldMk cId="2314306782" sldId="572"/>
            <ac:spMk id="5" creationId="{55182462-DFDF-4D48-A92C-42FD52821C4E}"/>
          </ac:spMkLst>
        </pc:spChg>
      </pc:sldChg>
      <pc:sldChg chg="del">
        <pc:chgData name="Batuhan Yildiz" userId="90f344fc-4655-4923-aeaf-697bba59c1a7" providerId="ADAL" clId="{73D0611D-A011-47A1-B2AD-14FD4A842E01}" dt="2020-01-30T08:11:06.931" v="221" actId="47"/>
        <pc:sldMkLst>
          <pc:docMk/>
          <pc:sldMk cId="2604901344" sldId="578"/>
        </pc:sldMkLst>
      </pc:sldChg>
      <pc:sldChg chg="del">
        <pc:chgData name="Batuhan Yildiz" userId="90f344fc-4655-4923-aeaf-697bba59c1a7" providerId="ADAL" clId="{73D0611D-A011-47A1-B2AD-14FD4A842E01}" dt="2020-01-30T08:11:06.931" v="221" actId="47"/>
        <pc:sldMkLst>
          <pc:docMk/>
          <pc:sldMk cId="1403018791" sldId="579"/>
        </pc:sldMkLst>
      </pc:sldChg>
      <pc:sldChg chg="del">
        <pc:chgData name="Batuhan Yildiz" userId="90f344fc-4655-4923-aeaf-697bba59c1a7" providerId="ADAL" clId="{73D0611D-A011-47A1-B2AD-14FD4A842E01}" dt="2020-01-30T08:11:06.931" v="221" actId="47"/>
        <pc:sldMkLst>
          <pc:docMk/>
          <pc:sldMk cId="3819752479" sldId="580"/>
        </pc:sldMkLst>
      </pc:sldChg>
      <pc:sldChg chg="del">
        <pc:chgData name="Batuhan Yildiz" userId="90f344fc-4655-4923-aeaf-697bba59c1a7" providerId="ADAL" clId="{73D0611D-A011-47A1-B2AD-14FD4A842E01}" dt="2020-01-30T08:11:06.931" v="221" actId="47"/>
        <pc:sldMkLst>
          <pc:docMk/>
          <pc:sldMk cId="159196581" sldId="581"/>
        </pc:sldMkLst>
      </pc:sldChg>
      <pc:sldChg chg="del">
        <pc:chgData name="Batuhan Yildiz" userId="90f344fc-4655-4923-aeaf-697bba59c1a7" providerId="ADAL" clId="{73D0611D-A011-47A1-B2AD-14FD4A842E01}" dt="2020-01-30T08:11:06.931" v="221" actId="47"/>
        <pc:sldMkLst>
          <pc:docMk/>
          <pc:sldMk cId="1046573154" sldId="582"/>
        </pc:sldMkLst>
      </pc:sldChg>
      <pc:sldChg chg="del">
        <pc:chgData name="Batuhan Yildiz" userId="90f344fc-4655-4923-aeaf-697bba59c1a7" providerId="ADAL" clId="{73D0611D-A011-47A1-B2AD-14FD4A842E01}" dt="2020-01-30T08:11:06.931" v="221" actId="47"/>
        <pc:sldMkLst>
          <pc:docMk/>
          <pc:sldMk cId="3001108781" sldId="583"/>
        </pc:sldMkLst>
      </pc:sldChg>
      <pc:sldChg chg="del">
        <pc:chgData name="Batuhan Yildiz" userId="90f344fc-4655-4923-aeaf-697bba59c1a7" providerId="ADAL" clId="{73D0611D-A011-47A1-B2AD-14FD4A842E01}" dt="2020-01-30T08:11:06.931" v="221" actId="47"/>
        <pc:sldMkLst>
          <pc:docMk/>
          <pc:sldMk cId="2092846825" sldId="584"/>
        </pc:sldMkLst>
      </pc:sldChg>
      <pc:sldChg chg="del">
        <pc:chgData name="Batuhan Yildiz" userId="90f344fc-4655-4923-aeaf-697bba59c1a7" providerId="ADAL" clId="{73D0611D-A011-47A1-B2AD-14FD4A842E01}" dt="2020-01-30T08:11:06.931" v="221" actId="47"/>
        <pc:sldMkLst>
          <pc:docMk/>
          <pc:sldMk cId="4221138358" sldId="585"/>
        </pc:sldMkLst>
      </pc:sldChg>
      <pc:sldChg chg="del">
        <pc:chgData name="Batuhan Yildiz" userId="90f344fc-4655-4923-aeaf-697bba59c1a7" providerId="ADAL" clId="{73D0611D-A011-47A1-B2AD-14FD4A842E01}" dt="2020-01-30T08:11:06.931" v="221" actId="47"/>
        <pc:sldMkLst>
          <pc:docMk/>
          <pc:sldMk cId="577140418" sldId="586"/>
        </pc:sldMkLst>
      </pc:sldChg>
      <pc:sldChg chg="del">
        <pc:chgData name="Batuhan Yildiz" userId="90f344fc-4655-4923-aeaf-697bba59c1a7" providerId="ADAL" clId="{73D0611D-A011-47A1-B2AD-14FD4A842E01}" dt="2020-01-30T08:11:06.931" v="221" actId="47"/>
        <pc:sldMkLst>
          <pc:docMk/>
          <pc:sldMk cId="661700826" sldId="587"/>
        </pc:sldMkLst>
      </pc:sldChg>
      <pc:sldChg chg="del">
        <pc:chgData name="Batuhan Yildiz" userId="90f344fc-4655-4923-aeaf-697bba59c1a7" providerId="ADAL" clId="{73D0611D-A011-47A1-B2AD-14FD4A842E01}" dt="2020-01-30T08:11:06.931" v="221" actId="47"/>
        <pc:sldMkLst>
          <pc:docMk/>
          <pc:sldMk cId="471539456" sldId="588"/>
        </pc:sldMkLst>
      </pc:sldChg>
      <pc:sldChg chg="del">
        <pc:chgData name="Batuhan Yildiz" userId="90f344fc-4655-4923-aeaf-697bba59c1a7" providerId="ADAL" clId="{73D0611D-A011-47A1-B2AD-14FD4A842E01}" dt="2020-01-30T08:11:06.931" v="221" actId="47"/>
        <pc:sldMkLst>
          <pc:docMk/>
          <pc:sldMk cId="2646513380" sldId="589"/>
        </pc:sldMkLst>
      </pc:sldChg>
      <pc:sldChg chg="del">
        <pc:chgData name="Batuhan Yildiz" userId="90f344fc-4655-4923-aeaf-697bba59c1a7" providerId="ADAL" clId="{73D0611D-A011-47A1-B2AD-14FD4A842E01}" dt="2020-01-30T08:11:06.931" v="221" actId="47"/>
        <pc:sldMkLst>
          <pc:docMk/>
          <pc:sldMk cId="2880690618" sldId="590"/>
        </pc:sldMkLst>
      </pc:sldChg>
      <pc:sldChg chg="del">
        <pc:chgData name="Batuhan Yildiz" userId="90f344fc-4655-4923-aeaf-697bba59c1a7" providerId="ADAL" clId="{73D0611D-A011-47A1-B2AD-14FD4A842E01}" dt="2020-01-30T08:11:06.931" v="221" actId="47"/>
        <pc:sldMkLst>
          <pc:docMk/>
          <pc:sldMk cId="65979341" sldId="591"/>
        </pc:sldMkLst>
      </pc:sldChg>
      <pc:sldChg chg="del">
        <pc:chgData name="Batuhan Yildiz" userId="90f344fc-4655-4923-aeaf-697bba59c1a7" providerId="ADAL" clId="{73D0611D-A011-47A1-B2AD-14FD4A842E01}" dt="2020-01-30T08:11:06.931" v="221" actId="47"/>
        <pc:sldMkLst>
          <pc:docMk/>
          <pc:sldMk cId="1520463761" sldId="592"/>
        </pc:sldMkLst>
      </pc:sldChg>
      <pc:sldChg chg="del">
        <pc:chgData name="Batuhan Yildiz" userId="90f344fc-4655-4923-aeaf-697bba59c1a7" providerId="ADAL" clId="{73D0611D-A011-47A1-B2AD-14FD4A842E01}" dt="2020-01-30T08:11:06.931" v="221" actId="47"/>
        <pc:sldMkLst>
          <pc:docMk/>
          <pc:sldMk cId="418979536" sldId="593"/>
        </pc:sldMkLst>
      </pc:sldChg>
      <pc:sldChg chg="del">
        <pc:chgData name="Batuhan Yildiz" userId="90f344fc-4655-4923-aeaf-697bba59c1a7" providerId="ADAL" clId="{73D0611D-A011-47A1-B2AD-14FD4A842E01}" dt="2020-01-30T08:11:06.931" v="221" actId="47"/>
        <pc:sldMkLst>
          <pc:docMk/>
          <pc:sldMk cId="1309115212" sldId="594"/>
        </pc:sldMkLst>
      </pc:sldChg>
      <pc:sldChg chg="del">
        <pc:chgData name="Batuhan Yildiz" userId="90f344fc-4655-4923-aeaf-697bba59c1a7" providerId="ADAL" clId="{73D0611D-A011-47A1-B2AD-14FD4A842E01}" dt="2020-01-30T08:11:06.931" v="221" actId="47"/>
        <pc:sldMkLst>
          <pc:docMk/>
          <pc:sldMk cId="2185982150" sldId="595"/>
        </pc:sldMkLst>
      </pc:sldChg>
      <pc:sldChg chg="del">
        <pc:chgData name="Batuhan Yildiz" userId="90f344fc-4655-4923-aeaf-697bba59c1a7" providerId="ADAL" clId="{73D0611D-A011-47A1-B2AD-14FD4A842E01}" dt="2020-01-30T08:11:06.931" v="221" actId="47"/>
        <pc:sldMkLst>
          <pc:docMk/>
          <pc:sldMk cId="3232471753" sldId="596"/>
        </pc:sldMkLst>
      </pc:sldChg>
      <pc:sldChg chg="del">
        <pc:chgData name="Batuhan Yildiz" userId="90f344fc-4655-4923-aeaf-697bba59c1a7" providerId="ADAL" clId="{73D0611D-A011-47A1-B2AD-14FD4A842E01}" dt="2020-01-30T08:11:06.931" v="221" actId="47"/>
        <pc:sldMkLst>
          <pc:docMk/>
          <pc:sldMk cId="222379813" sldId="597"/>
        </pc:sldMkLst>
      </pc:sldChg>
      <pc:sldChg chg="del">
        <pc:chgData name="Batuhan Yildiz" userId="90f344fc-4655-4923-aeaf-697bba59c1a7" providerId="ADAL" clId="{73D0611D-A011-47A1-B2AD-14FD4A842E01}" dt="2020-01-30T08:11:06.931" v="221" actId="47"/>
        <pc:sldMkLst>
          <pc:docMk/>
          <pc:sldMk cId="4052405621" sldId="598"/>
        </pc:sldMkLst>
      </pc:sldChg>
      <pc:sldChg chg="del">
        <pc:chgData name="Batuhan Yildiz" userId="90f344fc-4655-4923-aeaf-697bba59c1a7" providerId="ADAL" clId="{73D0611D-A011-47A1-B2AD-14FD4A842E01}" dt="2020-01-30T08:11:06.931" v="221" actId="47"/>
        <pc:sldMkLst>
          <pc:docMk/>
          <pc:sldMk cId="3471004044" sldId="599"/>
        </pc:sldMkLst>
      </pc:sldChg>
      <pc:sldChg chg="del">
        <pc:chgData name="Batuhan Yildiz" userId="90f344fc-4655-4923-aeaf-697bba59c1a7" providerId="ADAL" clId="{73D0611D-A011-47A1-B2AD-14FD4A842E01}" dt="2020-01-30T08:11:06.931" v="221" actId="47"/>
        <pc:sldMkLst>
          <pc:docMk/>
          <pc:sldMk cId="4115121909" sldId="600"/>
        </pc:sldMkLst>
      </pc:sldChg>
      <pc:sldChg chg="del">
        <pc:chgData name="Batuhan Yildiz" userId="90f344fc-4655-4923-aeaf-697bba59c1a7" providerId="ADAL" clId="{73D0611D-A011-47A1-B2AD-14FD4A842E01}" dt="2020-01-30T08:11:06.931" v="221" actId="47"/>
        <pc:sldMkLst>
          <pc:docMk/>
          <pc:sldMk cId="3920792206" sldId="601"/>
        </pc:sldMkLst>
      </pc:sldChg>
      <pc:sldChg chg="del">
        <pc:chgData name="Batuhan Yildiz" userId="90f344fc-4655-4923-aeaf-697bba59c1a7" providerId="ADAL" clId="{73D0611D-A011-47A1-B2AD-14FD4A842E01}" dt="2020-01-30T08:11:06.931" v="221" actId="47"/>
        <pc:sldMkLst>
          <pc:docMk/>
          <pc:sldMk cId="354104108" sldId="602"/>
        </pc:sldMkLst>
      </pc:sldChg>
      <pc:sldChg chg="del">
        <pc:chgData name="Batuhan Yildiz" userId="90f344fc-4655-4923-aeaf-697bba59c1a7" providerId="ADAL" clId="{73D0611D-A011-47A1-B2AD-14FD4A842E01}" dt="2020-01-30T08:11:06.931" v="221" actId="47"/>
        <pc:sldMkLst>
          <pc:docMk/>
          <pc:sldMk cId="3518365308" sldId="603"/>
        </pc:sldMkLst>
      </pc:sldChg>
      <pc:sldChg chg="del">
        <pc:chgData name="Batuhan Yildiz" userId="90f344fc-4655-4923-aeaf-697bba59c1a7" providerId="ADAL" clId="{73D0611D-A011-47A1-B2AD-14FD4A842E01}" dt="2020-01-30T08:11:06.931" v="221" actId="47"/>
        <pc:sldMkLst>
          <pc:docMk/>
          <pc:sldMk cId="665790311" sldId="604"/>
        </pc:sldMkLst>
      </pc:sldChg>
      <pc:sldChg chg="del">
        <pc:chgData name="Batuhan Yildiz" userId="90f344fc-4655-4923-aeaf-697bba59c1a7" providerId="ADAL" clId="{73D0611D-A011-47A1-B2AD-14FD4A842E01}" dt="2020-01-30T08:11:06.931" v="221" actId="47"/>
        <pc:sldMkLst>
          <pc:docMk/>
          <pc:sldMk cId="806903252" sldId="605"/>
        </pc:sldMkLst>
      </pc:sldChg>
    </pc:docChg>
  </pc:docChgLst>
  <pc:docChgLst>
    <pc:chgData name="Daniel Valero" userId="31dd2ff7-9a08-462f-9096-6c487a317220" providerId="ADAL" clId="{6B6DDBCE-A0B9-4116-B479-39D499E84CDE}"/>
    <pc:docChg chg="undo custSel addSld delSld modSld modSection">
      <pc:chgData name="Daniel Valero" userId="31dd2ff7-9a08-462f-9096-6c487a317220" providerId="ADAL" clId="{6B6DDBCE-A0B9-4116-B479-39D499E84CDE}" dt="2020-03-06T22:04:55.793" v="287" actId="255"/>
      <pc:docMkLst>
        <pc:docMk/>
      </pc:docMkLst>
      <pc:sldChg chg="modSp">
        <pc:chgData name="Daniel Valero" userId="31dd2ff7-9a08-462f-9096-6c487a317220" providerId="ADAL" clId="{6B6DDBCE-A0B9-4116-B479-39D499E84CDE}" dt="2020-03-06T21:51:45.116" v="172" actId="20577"/>
        <pc:sldMkLst>
          <pc:docMk/>
          <pc:sldMk cId="4248838292" sldId="573"/>
        </pc:sldMkLst>
        <pc:graphicFrameChg chg="mod">
          <ac:chgData name="Daniel Valero" userId="31dd2ff7-9a08-462f-9096-6c487a317220" providerId="ADAL" clId="{6B6DDBCE-A0B9-4116-B479-39D499E84CDE}" dt="2020-03-06T21:51:45.116" v="172" actId="20577"/>
          <ac:graphicFrameMkLst>
            <pc:docMk/>
            <pc:sldMk cId="4248838292" sldId="573"/>
            <ac:graphicFrameMk id="5" creationId="{54FAC4F4-38DA-480E-819C-168F142E37A2}"/>
          </ac:graphicFrameMkLst>
        </pc:graphicFrameChg>
      </pc:sldChg>
      <pc:sldChg chg="delSp modSp mod">
        <pc:chgData name="Daniel Valero" userId="31dd2ff7-9a08-462f-9096-6c487a317220" providerId="ADAL" clId="{6B6DDBCE-A0B9-4116-B479-39D499E84CDE}" dt="2020-03-06T21:45:04.415" v="21" actId="12"/>
        <pc:sldMkLst>
          <pc:docMk/>
          <pc:sldMk cId="2669391059" sldId="596"/>
        </pc:sldMkLst>
        <pc:graphicFrameChg chg="mod">
          <ac:chgData name="Daniel Valero" userId="31dd2ff7-9a08-462f-9096-6c487a317220" providerId="ADAL" clId="{6B6DDBCE-A0B9-4116-B479-39D499E84CDE}" dt="2020-03-06T21:45:04.415" v="21" actId="12"/>
          <ac:graphicFrameMkLst>
            <pc:docMk/>
            <pc:sldMk cId="2669391059" sldId="596"/>
            <ac:graphicFrameMk id="4" creationId="{D437032D-66F5-4217-A6E7-5417D8E385E2}"/>
          </ac:graphicFrameMkLst>
        </pc:graphicFrameChg>
        <pc:graphicFrameChg chg="del">
          <ac:chgData name="Daniel Valero" userId="31dd2ff7-9a08-462f-9096-6c487a317220" providerId="ADAL" clId="{6B6DDBCE-A0B9-4116-B479-39D499E84CDE}" dt="2020-03-06T21:45:00.625" v="19" actId="478"/>
          <ac:graphicFrameMkLst>
            <pc:docMk/>
            <pc:sldMk cId="2669391059" sldId="596"/>
            <ac:graphicFrameMk id="5" creationId="{6038F7FE-1DA1-4DBB-B788-2C7EB166AC5C}"/>
          </ac:graphicFrameMkLst>
        </pc:graphicFrameChg>
      </pc:sldChg>
      <pc:sldChg chg="addSp delSp modSp mod">
        <pc:chgData name="Daniel Valero" userId="31dd2ff7-9a08-462f-9096-6c487a317220" providerId="ADAL" clId="{6B6DDBCE-A0B9-4116-B479-39D499E84CDE}" dt="2020-03-06T21:48:01.600" v="121" actId="1076"/>
        <pc:sldMkLst>
          <pc:docMk/>
          <pc:sldMk cId="3121385187" sldId="601"/>
        </pc:sldMkLst>
        <pc:spChg chg="add del mod">
          <ac:chgData name="Daniel Valero" userId="31dd2ff7-9a08-462f-9096-6c487a317220" providerId="ADAL" clId="{6B6DDBCE-A0B9-4116-B479-39D499E84CDE}" dt="2020-03-06T21:47:06.671" v="76"/>
          <ac:spMkLst>
            <pc:docMk/>
            <pc:sldMk cId="3121385187" sldId="601"/>
            <ac:spMk id="5" creationId="{C4DCED54-EEAA-4611-8747-FE1D3C5D1758}"/>
          </ac:spMkLst>
        </pc:spChg>
        <pc:spChg chg="add del mod ord">
          <ac:chgData name="Daniel Valero" userId="31dd2ff7-9a08-462f-9096-6c487a317220" providerId="ADAL" clId="{6B6DDBCE-A0B9-4116-B479-39D499E84CDE}" dt="2020-03-06T21:47:03.012" v="72"/>
          <ac:spMkLst>
            <pc:docMk/>
            <pc:sldMk cId="3121385187" sldId="601"/>
            <ac:spMk id="8" creationId="{15D59687-1D3B-48EF-8D52-BBACCE48F07B}"/>
          </ac:spMkLst>
        </pc:spChg>
        <pc:spChg chg="add del mod">
          <ac:chgData name="Daniel Valero" userId="31dd2ff7-9a08-462f-9096-6c487a317220" providerId="ADAL" clId="{6B6DDBCE-A0B9-4116-B479-39D499E84CDE}" dt="2020-03-06T21:46:58.351" v="59" actId="21"/>
          <ac:spMkLst>
            <pc:docMk/>
            <pc:sldMk cId="3121385187" sldId="601"/>
            <ac:spMk id="9" creationId="{B3050E42-C7BA-468F-9760-7E3F6E9B8388}"/>
          </ac:spMkLst>
        </pc:spChg>
        <pc:spChg chg="add mod">
          <ac:chgData name="Daniel Valero" userId="31dd2ff7-9a08-462f-9096-6c487a317220" providerId="ADAL" clId="{6B6DDBCE-A0B9-4116-B479-39D499E84CDE}" dt="2020-03-06T21:48:01.600" v="121" actId="1076"/>
          <ac:spMkLst>
            <pc:docMk/>
            <pc:sldMk cId="3121385187" sldId="601"/>
            <ac:spMk id="10" creationId="{3A22AD52-9F23-476C-B2F0-713E08695664}"/>
          </ac:spMkLst>
        </pc:spChg>
        <pc:graphicFrameChg chg="del mod">
          <ac:chgData name="Daniel Valero" userId="31dd2ff7-9a08-462f-9096-6c487a317220" providerId="ADAL" clId="{6B6DDBCE-A0B9-4116-B479-39D499E84CDE}" dt="2020-03-06T21:45:46.535" v="23" actId="478"/>
          <ac:graphicFrameMkLst>
            <pc:docMk/>
            <pc:sldMk cId="3121385187" sldId="601"/>
            <ac:graphicFrameMk id="4" creationId="{0A0551B6-9EC1-42BC-B15E-507686A09312}"/>
          </ac:graphicFrameMkLst>
        </pc:graphicFrameChg>
      </pc:sldChg>
      <pc:sldChg chg="modSp">
        <pc:chgData name="Daniel Valero" userId="31dd2ff7-9a08-462f-9096-6c487a317220" providerId="ADAL" clId="{6B6DDBCE-A0B9-4116-B479-39D499E84CDE}" dt="2020-03-06T21:56:41.243" v="203" actId="20577"/>
        <pc:sldMkLst>
          <pc:docMk/>
          <pc:sldMk cId="3804096970" sldId="615"/>
        </pc:sldMkLst>
        <pc:graphicFrameChg chg="mod">
          <ac:chgData name="Daniel Valero" userId="31dd2ff7-9a08-462f-9096-6c487a317220" providerId="ADAL" clId="{6B6DDBCE-A0B9-4116-B479-39D499E84CDE}" dt="2020-03-06T21:56:41.243" v="203" actId="20577"/>
          <ac:graphicFrameMkLst>
            <pc:docMk/>
            <pc:sldMk cId="3804096970" sldId="615"/>
            <ac:graphicFrameMk id="5" creationId="{8218AF4A-403D-4A67-87BC-BF0DD8FEB0D5}"/>
          </ac:graphicFrameMkLst>
        </pc:graphicFrameChg>
      </pc:sldChg>
      <pc:sldChg chg="addSp delSp modSp mod">
        <pc:chgData name="Daniel Valero" userId="31dd2ff7-9a08-462f-9096-6c487a317220" providerId="ADAL" clId="{6B6DDBCE-A0B9-4116-B479-39D499E84CDE}" dt="2020-03-06T21:50:32.485" v="150" actId="255"/>
        <pc:sldMkLst>
          <pc:docMk/>
          <pc:sldMk cId="3894491069" sldId="617"/>
        </pc:sldMkLst>
        <pc:spChg chg="add">
          <ac:chgData name="Daniel Valero" userId="31dd2ff7-9a08-462f-9096-6c487a317220" providerId="ADAL" clId="{6B6DDBCE-A0B9-4116-B479-39D499E84CDE}" dt="2020-03-06T21:49:22.277" v="131"/>
          <ac:spMkLst>
            <pc:docMk/>
            <pc:sldMk cId="3894491069" sldId="617"/>
            <ac:spMk id="6" creationId="{750FF4C7-0DD7-4825-936D-2C9D364F2261}"/>
          </ac:spMkLst>
        </pc:spChg>
        <pc:spChg chg="add mod">
          <ac:chgData name="Daniel Valero" userId="31dd2ff7-9a08-462f-9096-6c487a317220" providerId="ADAL" clId="{6B6DDBCE-A0B9-4116-B479-39D499E84CDE}" dt="2020-03-06T21:49:28.675" v="133" actId="21"/>
          <ac:spMkLst>
            <pc:docMk/>
            <pc:sldMk cId="3894491069" sldId="617"/>
            <ac:spMk id="7" creationId="{CCB75105-4A31-4F16-A376-99AEF3FD61BF}"/>
          </ac:spMkLst>
        </pc:spChg>
        <pc:spChg chg="add mod">
          <ac:chgData name="Daniel Valero" userId="31dd2ff7-9a08-462f-9096-6c487a317220" providerId="ADAL" clId="{6B6DDBCE-A0B9-4116-B479-39D499E84CDE}" dt="2020-03-06T21:49:53.075" v="146" actId="113"/>
          <ac:spMkLst>
            <pc:docMk/>
            <pc:sldMk cId="3894491069" sldId="617"/>
            <ac:spMk id="8" creationId="{A5433E82-14E9-492C-AE3C-37147E623F70}"/>
          </ac:spMkLst>
        </pc:spChg>
        <pc:grpChg chg="add del mod">
          <ac:chgData name="Daniel Valero" userId="31dd2ff7-9a08-462f-9096-6c487a317220" providerId="ADAL" clId="{6B6DDBCE-A0B9-4116-B479-39D499E84CDE}" dt="2020-03-06T21:49:30.102" v="134" actId="478"/>
          <ac:grpSpMkLst>
            <pc:docMk/>
            <pc:sldMk cId="3894491069" sldId="617"/>
            <ac:grpSpMk id="5" creationId="{3E20ED4A-ED45-498B-903D-8230BE083EBB}"/>
          </ac:grpSpMkLst>
        </pc:grpChg>
        <pc:graphicFrameChg chg="mod">
          <ac:chgData name="Daniel Valero" userId="31dd2ff7-9a08-462f-9096-6c487a317220" providerId="ADAL" clId="{6B6DDBCE-A0B9-4116-B479-39D499E84CDE}" dt="2020-03-06T21:50:32.485" v="150" actId="255"/>
          <ac:graphicFrameMkLst>
            <pc:docMk/>
            <pc:sldMk cId="3894491069" sldId="617"/>
            <ac:graphicFrameMk id="4" creationId="{44ECF381-5A85-4152-A4A2-40DE21A6CB04}"/>
          </ac:graphicFrameMkLst>
        </pc:graphicFrameChg>
      </pc:sldChg>
      <pc:sldChg chg="addSp delSp modSp mod">
        <pc:chgData name="Daniel Valero" userId="31dd2ff7-9a08-462f-9096-6c487a317220" providerId="ADAL" clId="{6B6DDBCE-A0B9-4116-B479-39D499E84CDE}" dt="2020-03-06T21:44:04.930" v="15" actId="14100"/>
        <pc:sldMkLst>
          <pc:docMk/>
          <pc:sldMk cId="3727622838" sldId="622"/>
        </pc:sldMkLst>
        <pc:spChg chg="add mod">
          <ac:chgData name="Daniel Valero" userId="31dd2ff7-9a08-462f-9096-6c487a317220" providerId="ADAL" clId="{6B6DDBCE-A0B9-4116-B479-39D499E84CDE}" dt="2020-03-06T21:44:04.930" v="15" actId="14100"/>
          <ac:spMkLst>
            <pc:docMk/>
            <pc:sldMk cId="3727622838" sldId="622"/>
            <ac:spMk id="12" creationId="{EB0D7ADE-EA66-4D67-AB24-86EB688BD1AE}"/>
          </ac:spMkLst>
        </pc:spChg>
        <pc:graphicFrameChg chg="del mod">
          <ac:chgData name="Daniel Valero" userId="31dd2ff7-9a08-462f-9096-6c487a317220" providerId="ADAL" clId="{6B6DDBCE-A0B9-4116-B479-39D499E84CDE}" dt="2020-03-06T21:43:25.243" v="1" actId="478"/>
          <ac:graphicFrameMkLst>
            <pc:docMk/>
            <pc:sldMk cId="3727622838" sldId="622"/>
            <ac:graphicFrameMk id="10" creationId="{5A2BA549-9659-4CD7-888E-C537D5FFC7E6}"/>
          </ac:graphicFrameMkLst>
        </pc:graphicFrameChg>
      </pc:sldChg>
      <pc:sldChg chg="modSp mod modNotesTx">
        <pc:chgData name="Daniel Valero" userId="31dd2ff7-9a08-462f-9096-6c487a317220" providerId="ADAL" clId="{6B6DDBCE-A0B9-4116-B479-39D499E84CDE}" dt="2020-03-06T22:02:23.081" v="247" actId="1076"/>
        <pc:sldMkLst>
          <pc:docMk/>
          <pc:sldMk cId="743094843" sldId="626"/>
        </pc:sldMkLst>
        <pc:spChg chg="mod">
          <ac:chgData name="Daniel Valero" userId="31dd2ff7-9a08-462f-9096-6c487a317220" providerId="ADAL" clId="{6B6DDBCE-A0B9-4116-B479-39D499E84CDE}" dt="2020-03-06T22:02:15.201" v="243" actId="14100"/>
          <ac:spMkLst>
            <pc:docMk/>
            <pc:sldMk cId="743094843" sldId="626"/>
            <ac:spMk id="4" creationId="{F3616A99-090F-45E1-9334-58D58B148205}"/>
          </ac:spMkLst>
        </pc:spChg>
        <pc:graphicFrameChg chg="mod">
          <ac:chgData name="Daniel Valero" userId="31dd2ff7-9a08-462f-9096-6c487a317220" providerId="ADAL" clId="{6B6DDBCE-A0B9-4116-B479-39D499E84CDE}" dt="2020-03-06T22:02:23.081" v="247" actId="1076"/>
          <ac:graphicFrameMkLst>
            <pc:docMk/>
            <pc:sldMk cId="743094843" sldId="626"/>
            <ac:graphicFrameMk id="6" creationId="{111D002A-A0A4-4541-915F-22B1D3A7AB07}"/>
          </ac:graphicFrameMkLst>
        </pc:graphicFrameChg>
      </pc:sldChg>
      <pc:sldChg chg="modSp">
        <pc:chgData name="Daniel Valero" userId="31dd2ff7-9a08-462f-9096-6c487a317220" providerId="ADAL" clId="{6B6DDBCE-A0B9-4116-B479-39D499E84CDE}" dt="2020-03-06T21:59:06.617" v="205" actId="20577"/>
        <pc:sldMkLst>
          <pc:docMk/>
          <pc:sldMk cId="3568901222" sldId="629"/>
        </pc:sldMkLst>
        <pc:graphicFrameChg chg="mod">
          <ac:chgData name="Daniel Valero" userId="31dd2ff7-9a08-462f-9096-6c487a317220" providerId="ADAL" clId="{6B6DDBCE-A0B9-4116-B479-39D499E84CDE}" dt="2020-03-06T21:59:06.617" v="205" actId="20577"/>
          <ac:graphicFrameMkLst>
            <pc:docMk/>
            <pc:sldMk cId="3568901222" sldId="629"/>
            <ac:graphicFrameMk id="14" creationId="{AB7BD9DA-F2E1-4F40-9193-F7C0E8AC6A24}"/>
          </ac:graphicFrameMkLst>
        </pc:graphicFrameChg>
      </pc:sldChg>
      <pc:sldChg chg="addSp delSp modSp mod">
        <pc:chgData name="Daniel Valero" userId="31dd2ff7-9a08-462f-9096-6c487a317220" providerId="ADAL" clId="{6B6DDBCE-A0B9-4116-B479-39D499E84CDE}" dt="2020-03-06T22:00:25.577" v="230" actId="1076"/>
        <pc:sldMkLst>
          <pc:docMk/>
          <pc:sldMk cId="3702163554" sldId="630"/>
        </pc:sldMkLst>
        <pc:spChg chg="add del">
          <ac:chgData name="Daniel Valero" userId="31dd2ff7-9a08-462f-9096-6c487a317220" providerId="ADAL" clId="{6B6DDBCE-A0B9-4116-B479-39D499E84CDE}" dt="2020-03-06T21:59:48.376" v="215"/>
          <ac:spMkLst>
            <pc:docMk/>
            <pc:sldMk cId="3702163554" sldId="630"/>
            <ac:spMk id="4" creationId="{B5D295D2-FDCB-49A4-987A-A83987ADDF64}"/>
          </ac:spMkLst>
        </pc:spChg>
        <pc:spChg chg="add mod">
          <ac:chgData name="Daniel Valero" userId="31dd2ff7-9a08-462f-9096-6c487a317220" providerId="ADAL" clId="{6B6DDBCE-A0B9-4116-B479-39D499E84CDE}" dt="2020-03-06T22:00:24.457" v="229" actId="1076"/>
          <ac:spMkLst>
            <pc:docMk/>
            <pc:sldMk cId="3702163554" sldId="630"/>
            <ac:spMk id="5" creationId="{2B7D7BFF-B109-48DC-A1A6-A8028CBE207C}"/>
          </ac:spMkLst>
        </pc:spChg>
        <pc:spChg chg="mod">
          <ac:chgData name="Daniel Valero" userId="31dd2ff7-9a08-462f-9096-6c487a317220" providerId="ADAL" clId="{6B6DDBCE-A0B9-4116-B479-39D499E84CDE}" dt="2020-03-06T21:59:52.916" v="219"/>
          <ac:spMkLst>
            <pc:docMk/>
            <pc:sldMk cId="3702163554" sldId="630"/>
            <ac:spMk id="10" creationId="{2112D96C-AB9F-4924-8996-4DEFF0DEC136}"/>
          </ac:spMkLst>
        </pc:spChg>
        <pc:picChg chg="mod">
          <ac:chgData name="Daniel Valero" userId="31dd2ff7-9a08-462f-9096-6c487a317220" providerId="ADAL" clId="{6B6DDBCE-A0B9-4116-B479-39D499E84CDE}" dt="2020-03-06T22:00:25.577" v="230" actId="1076"/>
          <ac:picMkLst>
            <pc:docMk/>
            <pc:sldMk cId="3702163554" sldId="630"/>
            <ac:picMk id="6" creationId="{3E011ADC-9AED-4A4A-A6ED-0A60F49999A4}"/>
          </ac:picMkLst>
        </pc:picChg>
      </pc:sldChg>
      <pc:sldChg chg="addSp modSp mod">
        <pc:chgData name="Daniel Valero" userId="31dd2ff7-9a08-462f-9096-6c487a317220" providerId="ADAL" clId="{6B6DDBCE-A0B9-4116-B479-39D499E84CDE}" dt="2020-03-06T22:04:55.793" v="287" actId="255"/>
        <pc:sldMkLst>
          <pc:docMk/>
          <pc:sldMk cId="2502654232" sldId="640"/>
        </pc:sldMkLst>
        <pc:spChg chg="mod">
          <ac:chgData name="Daniel Valero" userId="31dd2ff7-9a08-462f-9096-6c487a317220" providerId="ADAL" clId="{6B6DDBCE-A0B9-4116-B479-39D499E84CDE}" dt="2020-03-06T22:04:04.014" v="278" actId="14100"/>
          <ac:spMkLst>
            <pc:docMk/>
            <pc:sldMk cId="2502654232" sldId="640"/>
            <ac:spMk id="6" creationId="{B2DA85DE-71D1-48B3-823A-E1808778A06F}"/>
          </ac:spMkLst>
        </pc:spChg>
        <pc:graphicFrameChg chg="add mod modGraphic">
          <ac:chgData name="Daniel Valero" userId="31dd2ff7-9a08-462f-9096-6c487a317220" providerId="ADAL" clId="{6B6DDBCE-A0B9-4116-B479-39D499E84CDE}" dt="2020-03-06T22:04:55.793" v="287" actId="255"/>
          <ac:graphicFrameMkLst>
            <pc:docMk/>
            <pc:sldMk cId="2502654232" sldId="640"/>
            <ac:graphicFrameMk id="4" creationId="{C117F7AD-84C8-4D38-9A4A-B8E714D837FA}"/>
          </ac:graphicFrameMkLst>
        </pc:graphicFrameChg>
      </pc:sldChg>
      <pc:sldChg chg="addSp delSp modSp mod">
        <pc:chgData name="Daniel Valero" userId="31dd2ff7-9a08-462f-9096-6c487a317220" providerId="ADAL" clId="{6B6DDBCE-A0B9-4116-B479-39D499E84CDE}" dt="2020-03-06T21:54:11.849" v="188" actId="1076"/>
        <pc:sldMkLst>
          <pc:docMk/>
          <pc:sldMk cId="533282277" sldId="643"/>
        </pc:sldMkLst>
        <pc:spChg chg="add mod">
          <ac:chgData name="Daniel Valero" userId="31dd2ff7-9a08-462f-9096-6c487a317220" providerId="ADAL" clId="{6B6DDBCE-A0B9-4116-B479-39D499E84CDE}" dt="2020-03-06T21:54:11.849" v="188" actId="1076"/>
          <ac:spMkLst>
            <pc:docMk/>
            <pc:sldMk cId="533282277" sldId="643"/>
            <ac:spMk id="5" creationId="{EFA18231-18B7-4763-8D31-D8DADE8A26F2}"/>
          </ac:spMkLst>
        </pc:spChg>
        <pc:spChg chg="add del">
          <ac:chgData name="Daniel Valero" userId="31dd2ff7-9a08-462f-9096-6c487a317220" providerId="ADAL" clId="{6B6DDBCE-A0B9-4116-B479-39D499E84CDE}" dt="2020-03-06T21:53:45.127" v="177"/>
          <ac:spMkLst>
            <pc:docMk/>
            <pc:sldMk cId="533282277" sldId="643"/>
            <ac:spMk id="6" creationId="{141149DE-0B93-4E60-AFEA-E5D4E98472AE}"/>
          </ac:spMkLst>
        </pc:spChg>
        <pc:graphicFrameChg chg="add del mod">
          <ac:chgData name="Daniel Valero" userId="31dd2ff7-9a08-462f-9096-6c487a317220" providerId="ADAL" clId="{6B6DDBCE-A0B9-4116-B479-39D499E84CDE}" dt="2020-03-06T21:53:53.116" v="180" actId="478"/>
          <ac:graphicFrameMkLst>
            <pc:docMk/>
            <pc:sldMk cId="533282277" sldId="643"/>
            <ac:graphicFrameMk id="4" creationId="{BBDAC1E8-19B2-4351-BCA3-CFF0A90C4511}"/>
          </ac:graphicFrameMkLst>
        </pc:graphicFrameChg>
      </pc:sldChg>
      <pc:sldChg chg="addSp delSp modSp new add del mod">
        <pc:chgData name="Daniel Valero" userId="31dd2ff7-9a08-462f-9096-6c487a317220" providerId="ADAL" clId="{6B6DDBCE-A0B9-4116-B479-39D499E84CDE}" dt="2020-03-06T21:47:04.255" v="75" actId="680"/>
        <pc:sldMkLst>
          <pc:docMk/>
          <pc:sldMk cId="1767724728" sldId="645"/>
        </pc:sldMkLst>
        <pc:spChg chg="add del mod">
          <ac:chgData name="Daniel Valero" userId="31dd2ff7-9a08-462f-9096-6c487a317220" providerId="ADAL" clId="{6B6DDBCE-A0B9-4116-B479-39D499E84CDE}" dt="2020-03-06T21:47:03.797" v="74" actId="20577"/>
          <ac:spMkLst>
            <pc:docMk/>
            <pc:sldMk cId="1767724728" sldId="645"/>
            <ac:spMk id="4" creationId="{E3C285C1-68FC-408C-B38F-5A6FDA6A5101}"/>
          </ac:spMkLst>
        </pc:spChg>
        <pc:spChg chg="add del mod">
          <ac:chgData name="Daniel Valero" userId="31dd2ff7-9a08-462f-9096-6c487a317220" providerId="ADAL" clId="{6B6DDBCE-A0B9-4116-B479-39D499E84CDE}" dt="2020-03-06T21:47:03.405" v="73" actId="21"/>
          <ac:spMkLst>
            <pc:docMk/>
            <pc:sldMk cId="1767724728" sldId="645"/>
            <ac:spMk id="6" creationId="{4A26E9D7-B648-4D1C-9BD7-B726F51217D1}"/>
          </ac:spMkLst>
        </pc:spChg>
      </pc:sldChg>
    </pc:docChg>
  </pc:docChgLst>
  <pc:docChgLst>
    <pc:chgData name="Batuhan Yildiz" userId="90f344fc-4655-4923-aeaf-697bba59c1a7" providerId="ADAL" clId="{893C3D6B-E236-4D2D-B4C6-0B4B748096BC}"/>
    <pc:docChg chg="undo custSel modSld addSection modSection">
      <pc:chgData name="Batuhan Yildiz" userId="90f344fc-4655-4923-aeaf-697bba59c1a7" providerId="ADAL" clId="{893C3D6B-E236-4D2D-B4C6-0B4B748096BC}" dt="2020-02-05T03:04:24.823" v="361" actId="20577"/>
      <pc:docMkLst>
        <pc:docMk/>
      </pc:docMkLst>
      <pc:sldChg chg="modSp mod">
        <pc:chgData name="Batuhan Yildiz" userId="90f344fc-4655-4923-aeaf-697bba59c1a7" providerId="ADAL" clId="{893C3D6B-E236-4D2D-B4C6-0B4B748096BC}" dt="2020-02-05T02:46:46.811" v="355" actId="20577"/>
        <pc:sldMkLst>
          <pc:docMk/>
          <pc:sldMk cId="1196121053" sldId="260"/>
        </pc:sldMkLst>
        <pc:spChg chg="mod">
          <ac:chgData name="Batuhan Yildiz" userId="90f344fc-4655-4923-aeaf-697bba59c1a7" providerId="ADAL" clId="{893C3D6B-E236-4D2D-B4C6-0B4B748096BC}" dt="2020-02-04T23:15:51.994" v="27" actId="20577"/>
          <ac:spMkLst>
            <pc:docMk/>
            <pc:sldMk cId="1196121053" sldId="260"/>
            <ac:spMk id="4" creationId="{5D85DF47-300F-4085-B774-DDE734B96F99}"/>
          </ac:spMkLst>
        </pc:spChg>
        <pc:spChg chg="mod">
          <ac:chgData name="Batuhan Yildiz" userId="90f344fc-4655-4923-aeaf-697bba59c1a7" providerId="ADAL" clId="{893C3D6B-E236-4D2D-B4C6-0B4B748096BC}" dt="2020-02-05T02:46:46.811" v="355" actId="20577"/>
          <ac:spMkLst>
            <pc:docMk/>
            <pc:sldMk cId="1196121053" sldId="260"/>
            <ac:spMk id="5" creationId="{806AE5AE-CAF0-4BF4-872E-C97AF8874A6F}"/>
          </ac:spMkLst>
        </pc:spChg>
      </pc:sldChg>
      <pc:sldChg chg="modSp">
        <pc:chgData name="Batuhan Yildiz" userId="90f344fc-4655-4923-aeaf-697bba59c1a7" providerId="ADAL" clId="{893C3D6B-E236-4D2D-B4C6-0B4B748096BC}" dt="2020-02-04T23:20:16.219" v="334"/>
        <pc:sldMkLst>
          <pc:docMk/>
          <pc:sldMk cId="4083746080" sldId="561"/>
        </pc:sldMkLst>
        <pc:spChg chg="mod">
          <ac:chgData name="Batuhan Yildiz" userId="90f344fc-4655-4923-aeaf-697bba59c1a7" providerId="ADAL" clId="{893C3D6B-E236-4D2D-B4C6-0B4B748096BC}" dt="2020-02-04T23:20:16.219" v="334"/>
          <ac:spMkLst>
            <pc:docMk/>
            <pc:sldMk cId="4083746080" sldId="561"/>
            <ac:spMk id="2" creationId="{74CD77A6-E28D-4D8D-9FE5-64ADAA827AC9}"/>
          </ac:spMkLst>
        </pc:spChg>
      </pc:sldChg>
      <pc:sldChg chg="modSp mod">
        <pc:chgData name="Batuhan Yildiz" userId="90f344fc-4655-4923-aeaf-697bba59c1a7" providerId="ADAL" clId="{893C3D6B-E236-4D2D-B4C6-0B4B748096BC}" dt="2020-02-05T03:04:12.361" v="358" actId="20577"/>
        <pc:sldMkLst>
          <pc:docMk/>
          <pc:sldMk cId="1615560134" sldId="562"/>
        </pc:sldMkLst>
        <pc:spChg chg="mod">
          <ac:chgData name="Batuhan Yildiz" userId="90f344fc-4655-4923-aeaf-697bba59c1a7" providerId="ADAL" clId="{893C3D6B-E236-4D2D-B4C6-0B4B748096BC}" dt="2020-02-05T03:04:12.361" v="358" actId="20577"/>
          <ac:spMkLst>
            <pc:docMk/>
            <pc:sldMk cId="1615560134" sldId="562"/>
            <ac:spMk id="3" creationId="{859B2BAE-A383-4E74-B3CF-9AC64DA11727}"/>
          </ac:spMkLst>
        </pc:spChg>
      </pc:sldChg>
      <pc:sldChg chg="modSp mod">
        <pc:chgData name="Batuhan Yildiz" userId="90f344fc-4655-4923-aeaf-697bba59c1a7" providerId="ADAL" clId="{893C3D6B-E236-4D2D-B4C6-0B4B748096BC}" dt="2020-02-04T23:21:14.575" v="336" actId="14100"/>
        <pc:sldMkLst>
          <pc:docMk/>
          <pc:sldMk cId="289400407" sldId="564"/>
        </pc:sldMkLst>
        <pc:spChg chg="mod">
          <ac:chgData name="Batuhan Yildiz" userId="90f344fc-4655-4923-aeaf-697bba59c1a7" providerId="ADAL" clId="{893C3D6B-E236-4D2D-B4C6-0B4B748096BC}" dt="2020-02-04T23:21:14.575" v="336" actId="14100"/>
          <ac:spMkLst>
            <pc:docMk/>
            <pc:sldMk cId="289400407" sldId="564"/>
            <ac:spMk id="2" creationId="{74CD77A6-E28D-4D8D-9FE5-64ADAA827AC9}"/>
          </ac:spMkLst>
        </pc:spChg>
      </pc:sldChg>
      <pc:sldChg chg="modSp">
        <pc:chgData name="Batuhan Yildiz" userId="90f344fc-4655-4923-aeaf-697bba59c1a7" providerId="ADAL" clId="{893C3D6B-E236-4D2D-B4C6-0B4B748096BC}" dt="2020-02-04T23:21:40.351" v="337"/>
        <pc:sldMkLst>
          <pc:docMk/>
          <pc:sldMk cId="57495843" sldId="571"/>
        </pc:sldMkLst>
        <pc:spChg chg="mod">
          <ac:chgData name="Batuhan Yildiz" userId="90f344fc-4655-4923-aeaf-697bba59c1a7" providerId="ADAL" clId="{893C3D6B-E236-4D2D-B4C6-0B4B748096BC}" dt="2020-02-04T23:21:40.351" v="337"/>
          <ac:spMkLst>
            <pc:docMk/>
            <pc:sldMk cId="57495843" sldId="571"/>
            <ac:spMk id="2" creationId="{74CD77A6-E28D-4D8D-9FE5-64ADAA827AC9}"/>
          </ac:spMkLst>
        </pc:spChg>
      </pc:sldChg>
      <pc:sldChg chg="modSp">
        <pc:chgData name="Batuhan Yildiz" userId="90f344fc-4655-4923-aeaf-697bba59c1a7" providerId="ADAL" clId="{893C3D6B-E236-4D2D-B4C6-0B4B748096BC}" dt="2020-02-04T23:22:36.314" v="340"/>
        <pc:sldMkLst>
          <pc:docMk/>
          <pc:sldMk cId="1611742758" sldId="578"/>
        </pc:sldMkLst>
        <pc:spChg chg="mod">
          <ac:chgData name="Batuhan Yildiz" userId="90f344fc-4655-4923-aeaf-697bba59c1a7" providerId="ADAL" clId="{893C3D6B-E236-4D2D-B4C6-0B4B748096BC}" dt="2020-02-04T23:22:36.314" v="340"/>
          <ac:spMkLst>
            <pc:docMk/>
            <pc:sldMk cId="1611742758" sldId="578"/>
            <ac:spMk id="2" creationId="{74CD77A6-E28D-4D8D-9FE5-64ADAA827AC9}"/>
          </ac:spMkLst>
        </pc:spChg>
      </pc:sldChg>
      <pc:sldChg chg="modSp">
        <pc:chgData name="Batuhan Yildiz" userId="90f344fc-4655-4923-aeaf-697bba59c1a7" providerId="ADAL" clId="{893C3D6B-E236-4D2D-B4C6-0B4B748096BC}" dt="2020-02-04T23:23:17.371" v="343"/>
        <pc:sldMkLst>
          <pc:docMk/>
          <pc:sldMk cId="3265042349" sldId="585"/>
        </pc:sldMkLst>
        <pc:spChg chg="mod">
          <ac:chgData name="Batuhan Yildiz" userId="90f344fc-4655-4923-aeaf-697bba59c1a7" providerId="ADAL" clId="{893C3D6B-E236-4D2D-B4C6-0B4B748096BC}" dt="2020-02-04T23:23:17.371" v="343"/>
          <ac:spMkLst>
            <pc:docMk/>
            <pc:sldMk cId="3265042349" sldId="585"/>
            <ac:spMk id="2" creationId="{74CD77A6-E28D-4D8D-9FE5-64ADAA827AC9}"/>
          </ac:spMkLst>
        </pc:spChg>
      </pc:sldChg>
      <pc:sldChg chg="modSp">
        <pc:chgData name="Batuhan Yildiz" userId="90f344fc-4655-4923-aeaf-697bba59c1a7" providerId="ADAL" clId="{893C3D6B-E236-4D2D-B4C6-0B4B748096BC}" dt="2020-02-04T23:23:47.265" v="346"/>
        <pc:sldMkLst>
          <pc:docMk/>
          <pc:sldMk cId="1945948018" sldId="592"/>
        </pc:sldMkLst>
        <pc:spChg chg="mod">
          <ac:chgData name="Batuhan Yildiz" userId="90f344fc-4655-4923-aeaf-697bba59c1a7" providerId="ADAL" clId="{893C3D6B-E236-4D2D-B4C6-0B4B748096BC}" dt="2020-02-04T23:23:47.265" v="346"/>
          <ac:spMkLst>
            <pc:docMk/>
            <pc:sldMk cId="1945948018" sldId="592"/>
            <ac:spMk id="2" creationId="{74CD77A6-E28D-4D8D-9FE5-64ADAA827AC9}"/>
          </ac:spMkLst>
        </pc:spChg>
      </pc:sldChg>
      <pc:sldChg chg="modSp">
        <pc:chgData name="Batuhan Yildiz" userId="90f344fc-4655-4923-aeaf-697bba59c1a7" providerId="ADAL" clId="{893C3D6B-E236-4D2D-B4C6-0B4B748096BC}" dt="2020-02-04T23:24:26.583" v="349"/>
        <pc:sldMkLst>
          <pc:docMk/>
          <pc:sldMk cId="809679049" sldId="599"/>
        </pc:sldMkLst>
        <pc:spChg chg="mod">
          <ac:chgData name="Batuhan Yildiz" userId="90f344fc-4655-4923-aeaf-697bba59c1a7" providerId="ADAL" clId="{893C3D6B-E236-4D2D-B4C6-0B4B748096BC}" dt="2020-02-04T23:24:26.583" v="349"/>
          <ac:spMkLst>
            <pc:docMk/>
            <pc:sldMk cId="809679049" sldId="599"/>
            <ac:spMk id="2" creationId="{74CD77A6-E28D-4D8D-9FE5-64ADAA827AC9}"/>
          </ac:spMkLst>
        </pc:spChg>
      </pc:sldChg>
      <pc:sldChg chg="modSp mod">
        <pc:chgData name="Batuhan Yildiz" userId="90f344fc-4655-4923-aeaf-697bba59c1a7" providerId="ADAL" clId="{893C3D6B-E236-4D2D-B4C6-0B4B748096BC}" dt="2020-02-05T03:04:24.823" v="361" actId="20577"/>
        <pc:sldMkLst>
          <pc:docMk/>
          <pc:sldMk cId="2219648348" sldId="606"/>
        </pc:sldMkLst>
        <pc:spChg chg="mod">
          <ac:chgData name="Batuhan Yildiz" userId="90f344fc-4655-4923-aeaf-697bba59c1a7" providerId="ADAL" clId="{893C3D6B-E236-4D2D-B4C6-0B4B748096BC}" dt="2020-02-05T03:04:24.823" v="361" actId="20577"/>
          <ac:spMkLst>
            <pc:docMk/>
            <pc:sldMk cId="2219648348" sldId="606"/>
            <ac:spMk id="2" creationId="{74CD77A6-E28D-4D8D-9FE5-64ADAA827AC9}"/>
          </ac:spMkLst>
        </pc:spChg>
      </pc:sldChg>
    </pc:docChg>
  </pc:docChgLst>
  <pc:docChgLst>
    <pc:chgData name="Daniel Valero" userId="31dd2ff7-9a08-462f-9096-6c487a317220" providerId="ADAL" clId="{A32C2E7F-55B4-4A10-ABC7-8439091E8E7B}"/>
    <pc:docChg chg="undo custSel delSld modSld modSection">
      <pc:chgData name="Daniel Valero" userId="31dd2ff7-9a08-462f-9096-6c487a317220" providerId="ADAL" clId="{A32C2E7F-55B4-4A10-ABC7-8439091E8E7B}" dt="2020-02-27T21:11:13.758" v="603" actId="6549"/>
      <pc:docMkLst>
        <pc:docMk/>
      </pc:docMkLst>
      <pc:sldChg chg="modSp modNotesTx">
        <pc:chgData name="Daniel Valero" userId="31dd2ff7-9a08-462f-9096-6c487a317220" providerId="ADAL" clId="{A32C2E7F-55B4-4A10-ABC7-8439091E8E7B}" dt="2020-02-27T15:29:30.475" v="39" actId="12"/>
        <pc:sldMkLst>
          <pc:docMk/>
          <pc:sldMk cId="3235270007" sldId="257"/>
        </pc:sldMkLst>
        <pc:graphicFrameChg chg="mod">
          <ac:chgData name="Daniel Valero" userId="31dd2ff7-9a08-462f-9096-6c487a317220" providerId="ADAL" clId="{A32C2E7F-55B4-4A10-ABC7-8439091E8E7B}" dt="2020-02-27T15:28:24.341" v="1" actId="20577"/>
          <ac:graphicFrameMkLst>
            <pc:docMk/>
            <pc:sldMk cId="3235270007" sldId="257"/>
            <ac:graphicFrameMk id="10" creationId="{2E361A70-62E8-4C24-8093-F2EEBBF0058D}"/>
          </ac:graphicFrameMkLst>
        </pc:graphicFrameChg>
      </pc:sldChg>
      <pc:sldChg chg="del modNotesTx">
        <pc:chgData name="Daniel Valero" userId="31dd2ff7-9a08-462f-9096-6c487a317220" providerId="ADAL" clId="{A32C2E7F-55B4-4A10-ABC7-8439091E8E7B}" dt="2020-02-27T15:40:40.231" v="169" actId="47"/>
        <pc:sldMkLst>
          <pc:docMk/>
          <pc:sldMk cId="3763190002" sldId="302"/>
        </pc:sldMkLst>
      </pc:sldChg>
      <pc:sldChg chg="modSp mod modNotesTx">
        <pc:chgData name="Daniel Valero" userId="31dd2ff7-9a08-462f-9096-6c487a317220" providerId="ADAL" clId="{A32C2E7F-55B4-4A10-ABC7-8439091E8E7B}" dt="2020-02-27T20:18:38.362" v="451" actId="20577"/>
        <pc:sldMkLst>
          <pc:docMk/>
          <pc:sldMk cId="4267675391" sldId="531"/>
        </pc:sldMkLst>
        <pc:spChg chg="mod">
          <ac:chgData name="Daniel Valero" userId="31dd2ff7-9a08-462f-9096-6c487a317220" providerId="ADAL" clId="{A32C2E7F-55B4-4A10-ABC7-8439091E8E7B}" dt="2020-02-27T19:52:38.989" v="365" actId="20577"/>
          <ac:spMkLst>
            <pc:docMk/>
            <pc:sldMk cId="4267675391" sldId="531"/>
            <ac:spMk id="6" creationId="{637E159C-9ACF-48AE-927A-D5FB13695C7F}"/>
          </ac:spMkLst>
        </pc:spChg>
      </pc:sldChg>
      <pc:sldChg chg="modSp">
        <pc:chgData name="Daniel Valero" userId="31dd2ff7-9a08-462f-9096-6c487a317220" providerId="ADAL" clId="{A32C2E7F-55B4-4A10-ABC7-8439091E8E7B}" dt="2020-02-27T15:36:47.319" v="99" actId="14100"/>
        <pc:sldMkLst>
          <pc:docMk/>
          <pc:sldMk cId="4221783869" sldId="566"/>
        </pc:sldMkLst>
        <pc:graphicFrameChg chg="mod">
          <ac:chgData name="Daniel Valero" userId="31dd2ff7-9a08-462f-9096-6c487a317220" providerId="ADAL" clId="{A32C2E7F-55B4-4A10-ABC7-8439091E8E7B}" dt="2020-02-27T15:36:47.319" v="99" actId="14100"/>
          <ac:graphicFrameMkLst>
            <pc:docMk/>
            <pc:sldMk cId="4221783869" sldId="566"/>
            <ac:graphicFrameMk id="9" creationId="{C7E54BA4-B9D5-4384-9A0F-2BBF5913642C}"/>
          </ac:graphicFrameMkLst>
        </pc:graphicFrameChg>
      </pc:sldChg>
      <pc:sldChg chg="modSp mod modNotesTx">
        <pc:chgData name="Daniel Valero" userId="31dd2ff7-9a08-462f-9096-6c487a317220" providerId="ADAL" clId="{A32C2E7F-55B4-4A10-ABC7-8439091E8E7B}" dt="2020-02-27T20:19:07.116" v="454" actId="20577"/>
        <pc:sldMkLst>
          <pc:docMk/>
          <pc:sldMk cId="670385602" sldId="567"/>
        </pc:sldMkLst>
        <pc:spChg chg="mod">
          <ac:chgData name="Daniel Valero" userId="31dd2ff7-9a08-462f-9096-6c487a317220" providerId="ADAL" clId="{A32C2E7F-55B4-4A10-ABC7-8439091E8E7B}" dt="2020-02-27T20:17:57.080" v="399" actId="790"/>
          <ac:spMkLst>
            <pc:docMk/>
            <pc:sldMk cId="670385602" sldId="567"/>
            <ac:spMk id="3" creationId="{8F64A22E-2B43-4FC6-AF08-0CDB3F9E9269}"/>
          </ac:spMkLst>
        </pc:spChg>
        <pc:spChg chg="mod">
          <ac:chgData name="Daniel Valero" userId="31dd2ff7-9a08-462f-9096-6c487a317220" providerId="ADAL" clId="{A32C2E7F-55B4-4A10-ABC7-8439091E8E7B}" dt="2020-02-27T20:18:13.675" v="446" actId="20577"/>
          <ac:spMkLst>
            <pc:docMk/>
            <pc:sldMk cId="670385602" sldId="567"/>
            <ac:spMk id="6" creationId="{637E159C-9ACF-48AE-927A-D5FB13695C7F}"/>
          </ac:spMkLst>
        </pc:spChg>
      </pc:sldChg>
      <pc:sldChg chg="modSp mod">
        <pc:chgData name="Daniel Valero" userId="31dd2ff7-9a08-462f-9096-6c487a317220" providerId="ADAL" clId="{A32C2E7F-55B4-4A10-ABC7-8439091E8E7B}" dt="2020-02-27T21:11:13.758" v="603" actId="6549"/>
        <pc:sldMkLst>
          <pc:docMk/>
          <pc:sldMk cId="2147177822" sldId="568"/>
        </pc:sldMkLst>
        <pc:spChg chg="mod">
          <ac:chgData name="Daniel Valero" userId="31dd2ff7-9a08-462f-9096-6c487a317220" providerId="ADAL" clId="{A32C2E7F-55B4-4A10-ABC7-8439091E8E7B}" dt="2020-02-27T20:29:57.407" v="582" actId="790"/>
          <ac:spMkLst>
            <pc:docMk/>
            <pc:sldMk cId="2147177822" sldId="568"/>
            <ac:spMk id="2" creationId="{BC57B38C-8413-4861-A4F5-7DF656AEAD0D}"/>
          </ac:spMkLst>
        </pc:spChg>
        <pc:spChg chg="mod">
          <ac:chgData name="Daniel Valero" userId="31dd2ff7-9a08-462f-9096-6c487a317220" providerId="ADAL" clId="{A32C2E7F-55B4-4A10-ABC7-8439091E8E7B}" dt="2020-02-27T21:11:13.758" v="603" actId="6549"/>
          <ac:spMkLst>
            <pc:docMk/>
            <pc:sldMk cId="2147177822" sldId="568"/>
            <ac:spMk id="3" creationId="{4897B8F8-26DF-42FB-ACB0-59929F1C2344}"/>
          </ac:spMkLst>
        </pc:spChg>
      </pc:sldChg>
      <pc:sldChg chg="modSp mod">
        <pc:chgData name="Daniel Valero" userId="31dd2ff7-9a08-462f-9096-6c487a317220" providerId="ADAL" clId="{A32C2E7F-55B4-4A10-ABC7-8439091E8E7B}" dt="2020-02-27T15:46:23.276" v="310"/>
        <pc:sldMkLst>
          <pc:docMk/>
          <pc:sldMk cId="3424530645" sldId="579"/>
        </pc:sldMkLst>
        <pc:spChg chg="mod">
          <ac:chgData name="Daniel Valero" userId="31dd2ff7-9a08-462f-9096-6c487a317220" providerId="ADAL" clId="{A32C2E7F-55B4-4A10-ABC7-8439091E8E7B}" dt="2020-02-27T15:46:23.276" v="310"/>
          <ac:spMkLst>
            <pc:docMk/>
            <pc:sldMk cId="3424530645" sldId="579"/>
            <ac:spMk id="5" creationId="{55182462-DFDF-4D48-A92C-42FD52821C4E}"/>
          </ac:spMkLst>
        </pc:spChg>
      </pc:sldChg>
      <pc:sldChg chg="modNotesTx">
        <pc:chgData name="Daniel Valero" userId="31dd2ff7-9a08-462f-9096-6c487a317220" providerId="ADAL" clId="{A32C2E7F-55B4-4A10-ABC7-8439091E8E7B}" dt="2020-02-27T15:33:03.331" v="87" actId="6549"/>
        <pc:sldMkLst>
          <pc:docMk/>
          <pc:sldMk cId="3243458079" sldId="597"/>
        </pc:sldMkLst>
      </pc:sldChg>
      <pc:sldChg chg="modNotesTx">
        <pc:chgData name="Daniel Valero" userId="31dd2ff7-9a08-462f-9096-6c487a317220" providerId="ADAL" clId="{A32C2E7F-55B4-4A10-ABC7-8439091E8E7B}" dt="2020-02-27T15:33:43.624" v="90" actId="6549"/>
        <pc:sldMkLst>
          <pc:docMk/>
          <pc:sldMk cId="200290157" sldId="599"/>
        </pc:sldMkLst>
      </pc:sldChg>
      <pc:sldChg chg="modNotesTx">
        <pc:chgData name="Daniel Valero" userId="31dd2ff7-9a08-462f-9096-6c487a317220" providerId="ADAL" clId="{A32C2E7F-55B4-4A10-ABC7-8439091E8E7B}" dt="2020-02-27T15:34:18.561" v="93" actId="6549"/>
        <pc:sldMkLst>
          <pc:docMk/>
          <pc:sldMk cId="994038105" sldId="600"/>
        </pc:sldMkLst>
      </pc:sldChg>
      <pc:sldChg chg="modNotesTx">
        <pc:chgData name="Daniel Valero" userId="31dd2ff7-9a08-462f-9096-6c487a317220" providerId="ADAL" clId="{A32C2E7F-55B4-4A10-ABC7-8439091E8E7B}" dt="2020-02-27T15:34:04.730" v="91" actId="6549"/>
        <pc:sldMkLst>
          <pc:docMk/>
          <pc:sldMk cId="2420422319" sldId="602"/>
        </pc:sldMkLst>
      </pc:sldChg>
      <pc:sldChg chg="modNotesTx">
        <pc:chgData name="Daniel Valero" userId="31dd2ff7-9a08-462f-9096-6c487a317220" providerId="ADAL" clId="{A32C2E7F-55B4-4A10-ABC7-8439091E8E7B}" dt="2020-02-27T15:38:34.784" v="112" actId="12"/>
        <pc:sldMkLst>
          <pc:docMk/>
          <pc:sldMk cId="3804096970" sldId="615"/>
        </pc:sldMkLst>
      </pc:sldChg>
      <pc:sldChg chg="addSp delSp modSp">
        <pc:chgData name="Daniel Valero" userId="31dd2ff7-9a08-462f-9096-6c487a317220" providerId="ADAL" clId="{A32C2E7F-55B4-4A10-ABC7-8439091E8E7B}" dt="2020-02-27T15:36:24.124" v="96" actId="478"/>
        <pc:sldMkLst>
          <pc:docMk/>
          <pc:sldMk cId="508126509" sldId="618"/>
        </pc:sldMkLst>
        <pc:picChg chg="add del mod">
          <ac:chgData name="Daniel Valero" userId="31dd2ff7-9a08-462f-9096-6c487a317220" providerId="ADAL" clId="{A32C2E7F-55B4-4A10-ABC7-8439091E8E7B}" dt="2020-02-27T15:36:24.124" v="96" actId="478"/>
          <ac:picMkLst>
            <pc:docMk/>
            <pc:sldMk cId="508126509" sldId="618"/>
            <ac:picMk id="1026" creationId="{B857C87A-BA10-45CF-9F50-D330A9D7F474}"/>
          </ac:picMkLst>
        </pc:picChg>
      </pc:sldChg>
      <pc:sldChg chg="modNotesTx">
        <pc:chgData name="Daniel Valero" userId="31dd2ff7-9a08-462f-9096-6c487a317220" providerId="ADAL" clId="{A32C2E7F-55B4-4A10-ABC7-8439091E8E7B}" dt="2020-02-27T15:45:31.140" v="280" actId="12"/>
        <pc:sldMkLst>
          <pc:docMk/>
          <pc:sldMk cId="2024360696" sldId="627"/>
        </pc:sldMkLst>
      </pc:sldChg>
      <pc:sldChg chg="modNotesTx">
        <pc:chgData name="Daniel Valero" userId="31dd2ff7-9a08-462f-9096-6c487a317220" providerId="ADAL" clId="{A32C2E7F-55B4-4A10-ABC7-8439091E8E7B}" dt="2020-02-27T15:43:14.646" v="234" actId="12"/>
        <pc:sldMkLst>
          <pc:docMk/>
          <pc:sldMk cId="3568901222" sldId="629"/>
        </pc:sldMkLst>
      </pc:sldChg>
      <pc:sldChg chg="modNotesTx">
        <pc:chgData name="Daniel Valero" userId="31dd2ff7-9a08-462f-9096-6c487a317220" providerId="ADAL" clId="{A32C2E7F-55B4-4A10-ABC7-8439091E8E7B}" dt="2020-02-27T15:37:17.669" v="103" actId="6549"/>
        <pc:sldMkLst>
          <pc:docMk/>
          <pc:sldMk cId="466097575" sldId="633"/>
        </pc:sldMkLst>
      </pc:sldChg>
      <pc:sldChg chg="addSp modSp mod modNotesTx">
        <pc:chgData name="Daniel Valero" userId="31dd2ff7-9a08-462f-9096-6c487a317220" providerId="ADAL" clId="{A32C2E7F-55B4-4A10-ABC7-8439091E8E7B}" dt="2020-02-27T15:41:56.120" v="197" actId="1076"/>
        <pc:sldMkLst>
          <pc:docMk/>
          <pc:sldMk cId="2202610295" sldId="635"/>
        </pc:sldMkLst>
        <pc:graphicFrameChg chg="mod">
          <ac:chgData name="Daniel Valero" userId="31dd2ff7-9a08-462f-9096-6c487a317220" providerId="ADAL" clId="{A32C2E7F-55B4-4A10-ABC7-8439091E8E7B}" dt="2020-02-27T15:41:48.631" v="196" actId="20577"/>
          <ac:graphicFrameMkLst>
            <pc:docMk/>
            <pc:sldMk cId="2202610295" sldId="635"/>
            <ac:graphicFrameMk id="5" creationId="{85FCFEA5-76C0-481C-AAC4-2ED55A37454B}"/>
          </ac:graphicFrameMkLst>
        </pc:graphicFrameChg>
        <pc:picChg chg="add mod">
          <ac:chgData name="Daniel Valero" userId="31dd2ff7-9a08-462f-9096-6c487a317220" providerId="ADAL" clId="{A32C2E7F-55B4-4A10-ABC7-8439091E8E7B}" dt="2020-02-27T15:41:56.120" v="197" actId="1076"/>
          <ac:picMkLst>
            <pc:docMk/>
            <pc:sldMk cId="2202610295" sldId="635"/>
            <ac:picMk id="6" creationId="{7DE32251-19FA-407E-995F-625B8418B5D2}"/>
          </ac:picMkLst>
        </pc:picChg>
        <pc:picChg chg="add mod ord">
          <ac:chgData name="Daniel Valero" userId="31dd2ff7-9a08-462f-9096-6c487a317220" providerId="ADAL" clId="{A32C2E7F-55B4-4A10-ABC7-8439091E8E7B}" dt="2020-02-27T15:40:23.480" v="166" actId="167"/>
          <ac:picMkLst>
            <pc:docMk/>
            <pc:sldMk cId="2202610295" sldId="635"/>
            <ac:picMk id="7" creationId="{88A788D7-8552-4B7E-A8E0-60F745ADD10C}"/>
          </ac:picMkLst>
        </pc:picChg>
      </pc:sldChg>
      <pc:sldMasterChg chg="delSldLayout">
        <pc:chgData name="Daniel Valero" userId="31dd2ff7-9a08-462f-9096-6c487a317220" providerId="ADAL" clId="{A32C2E7F-55B4-4A10-ABC7-8439091E8E7B}" dt="2020-02-27T15:40:40.231" v="169" actId="47"/>
        <pc:sldMasterMkLst>
          <pc:docMk/>
          <pc:sldMasterMk cId="1044402230" sldId="2147483706"/>
        </pc:sldMasterMkLst>
        <pc:sldLayoutChg chg="del">
          <pc:chgData name="Daniel Valero" userId="31dd2ff7-9a08-462f-9096-6c487a317220" providerId="ADAL" clId="{A32C2E7F-55B4-4A10-ABC7-8439091E8E7B}" dt="2020-02-27T15:40:40.231" v="169" actId="47"/>
          <pc:sldLayoutMkLst>
            <pc:docMk/>
            <pc:sldMasterMk cId="1044402230" sldId="2147483706"/>
            <pc:sldLayoutMk cId="3822577364" sldId="2147483754"/>
          </pc:sldLayoutMkLst>
        </pc:sldLayoutChg>
      </pc:sldMasterChg>
    </pc:docChg>
  </pc:docChgLst>
  <pc:docChgLst>
    <pc:chgData name="Sam Mesel" userId="1ee7badb-5d1f-4872-89ae-dcf7b71f276a" providerId="ADAL" clId="{7CA32505-6B2D-42E2-BE02-A2878D8E3640}"/>
    <pc:docChg chg="undo custSel addSld delSld modSld modSection">
      <pc:chgData name="Sam Mesel" userId="1ee7badb-5d1f-4872-89ae-dcf7b71f276a" providerId="ADAL" clId="{7CA32505-6B2D-42E2-BE02-A2878D8E3640}" dt="2020-03-20T19:28:07.294" v="2711" actId="12"/>
      <pc:docMkLst>
        <pc:docMk/>
      </pc:docMkLst>
      <pc:sldChg chg="modSp modNotes">
        <pc:chgData name="Sam Mesel" userId="1ee7badb-5d1f-4872-89ae-dcf7b71f276a" providerId="ADAL" clId="{7CA32505-6B2D-42E2-BE02-A2878D8E3640}" dt="2020-03-05T21:08:12.644" v="271" actId="20577"/>
        <pc:sldMkLst>
          <pc:docMk/>
          <pc:sldMk cId="3235270007" sldId="257"/>
        </pc:sldMkLst>
        <pc:graphicFrameChg chg="mod">
          <ac:chgData name="Sam Mesel" userId="1ee7badb-5d1f-4872-89ae-dcf7b71f276a" providerId="ADAL" clId="{7CA32505-6B2D-42E2-BE02-A2878D8E3640}" dt="2020-03-05T21:08:12.644" v="271" actId="20577"/>
          <ac:graphicFrameMkLst>
            <pc:docMk/>
            <pc:sldMk cId="3235270007" sldId="257"/>
            <ac:graphicFrameMk id="10" creationId="{2E361A70-62E8-4C24-8093-F2EEBBF0058D}"/>
          </ac:graphicFrameMkLst>
        </pc:graphicFrameChg>
      </pc:sldChg>
      <pc:sldChg chg="modSp mod">
        <pc:chgData name="Sam Mesel" userId="1ee7badb-5d1f-4872-89ae-dcf7b71f276a" providerId="ADAL" clId="{7CA32505-6B2D-42E2-BE02-A2878D8E3640}" dt="2020-03-17T23:14:56.498" v="2449" actId="6549"/>
        <pc:sldMkLst>
          <pc:docMk/>
          <pc:sldMk cId="4267675391" sldId="531"/>
        </pc:sldMkLst>
        <pc:spChg chg="mod">
          <ac:chgData name="Sam Mesel" userId="1ee7badb-5d1f-4872-89ae-dcf7b71f276a" providerId="ADAL" clId="{7CA32505-6B2D-42E2-BE02-A2878D8E3640}" dt="2020-03-17T23:14:56.498" v="2449" actId="6549"/>
          <ac:spMkLst>
            <pc:docMk/>
            <pc:sldMk cId="4267675391" sldId="531"/>
            <ac:spMk id="6" creationId="{637E159C-9ACF-48AE-927A-D5FB13695C7F}"/>
          </ac:spMkLst>
        </pc:spChg>
      </pc:sldChg>
      <pc:sldChg chg="modSp mod">
        <pc:chgData name="Sam Mesel" userId="1ee7badb-5d1f-4872-89ae-dcf7b71f276a" providerId="ADAL" clId="{7CA32505-6B2D-42E2-BE02-A2878D8E3640}" dt="2020-03-05T02:26:16.809" v="2" actId="6549"/>
        <pc:sldMkLst>
          <pc:docMk/>
          <pc:sldMk cId="2621600474" sldId="534"/>
        </pc:sldMkLst>
        <pc:spChg chg="mod">
          <ac:chgData name="Sam Mesel" userId="1ee7badb-5d1f-4872-89ae-dcf7b71f276a" providerId="ADAL" clId="{7CA32505-6B2D-42E2-BE02-A2878D8E3640}" dt="2020-03-05T02:26:16.809" v="2" actId="6549"/>
          <ac:spMkLst>
            <pc:docMk/>
            <pc:sldMk cId="2621600474" sldId="534"/>
            <ac:spMk id="5" creationId="{55182462-DFDF-4D48-A92C-42FD52821C4E}"/>
          </ac:spMkLst>
        </pc:spChg>
      </pc:sldChg>
      <pc:sldChg chg="del">
        <pc:chgData name="Sam Mesel" userId="1ee7badb-5d1f-4872-89ae-dcf7b71f276a" providerId="ADAL" clId="{7CA32505-6B2D-42E2-BE02-A2878D8E3640}" dt="2020-03-17T23:15:01.914" v="2450" actId="47"/>
        <pc:sldMkLst>
          <pc:docMk/>
          <pc:sldMk cId="1861621179" sldId="535"/>
        </pc:sldMkLst>
      </pc:sldChg>
      <pc:sldChg chg="modSp">
        <pc:chgData name="Sam Mesel" userId="1ee7badb-5d1f-4872-89ae-dcf7b71f276a" providerId="ADAL" clId="{7CA32505-6B2D-42E2-BE02-A2878D8E3640}" dt="2020-03-05T21:52:13.394" v="1127" actId="113"/>
        <pc:sldMkLst>
          <pc:docMk/>
          <pc:sldMk cId="3735096506" sldId="563"/>
        </pc:sldMkLst>
        <pc:graphicFrameChg chg="mod">
          <ac:chgData name="Sam Mesel" userId="1ee7badb-5d1f-4872-89ae-dcf7b71f276a" providerId="ADAL" clId="{7CA32505-6B2D-42E2-BE02-A2878D8E3640}" dt="2020-03-05T21:52:13.394" v="1127" actId="113"/>
          <ac:graphicFrameMkLst>
            <pc:docMk/>
            <pc:sldMk cId="3735096506" sldId="563"/>
            <ac:graphicFrameMk id="3" creationId="{9484E1FE-7534-495E-863C-657A46F5E628}"/>
          </ac:graphicFrameMkLst>
        </pc:graphicFrameChg>
      </pc:sldChg>
      <pc:sldChg chg="modSp mod">
        <pc:chgData name="Sam Mesel" userId="1ee7badb-5d1f-4872-89ae-dcf7b71f276a" providerId="ADAL" clId="{7CA32505-6B2D-42E2-BE02-A2878D8E3640}" dt="2020-03-05T21:53:29.270" v="1162" actId="20577"/>
        <pc:sldMkLst>
          <pc:docMk/>
          <pc:sldMk cId="2034824179" sldId="565"/>
        </pc:sldMkLst>
        <pc:spChg chg="mod">
          <ac:chgData name="Sam Mesel" userId="1ee7badb-5d1f-4872-89ae-dcf7b71f276a" providerId="ADAL" clId="{7CA32505-6B2D-42E2-BE02-A2878D8E3640}" dt="2020-03-05T21:53:29.270" v="1162" actId="20577"/>
          <ac:spMkLst>
            <pc:docMk/>
            <pc:sldMk cId="2034824179" sldId="565"/>
            <ac:spMk id="5" creationId="{55182462-DFDF-4D48-A92C-42FD52821C4E}"/>
          </ac:spMkLst>
        </pc:spChg>
      </pc:sldChg>
      <pc:sldChg chg="modSp mod">
        <pc:chgData name="Sam Mesel" userId="1ee7badb-5d1f-4872-89ae-dcf7b71f276a" providerId="ADAL" clId="{7CA32505-6B2D-42E2-BE02-A2878D8E3640}" dt="2020-03-05T03:58:35.018" v="170" actId="6549"/>
        <pc:sldMkLst>
          <pc:docMk/>
          <pc:sldMk cId="4221783869" sldId="566"/>
        </pc:sldMkLst>
        <pc:spChg chg="mod">
          <ac:chgData name="Sam Mesel" userId="1ee7badb-5d1f-4872-89ae-dcf7b71f276a" providerId="ADAL" clId="{7CA32505-6B2D-42E2-BE02-A2878D8E3640}" dt="2020-03-05T03:58:30.087" v="169" actId="20577"/>
          <ac:spMkLst>
            <pc:docMk/>
            <pc:sldMk cId="4221783869" sldId="566"/>
            <ac:spMk id="2" creationId="{EB67312A-9819-43C6-8D84-D9136E6CFFCC}"/>
          </ac:spMkLst>
        </pc:spChg>
        <pc:spChg chg="mod">
          <ac:chgData name="Sam Mesel" userId="1ee7badb-5d1f-4872-89ae-dcf7b71f276a" providerId="ADAL" clId="{7CA32505-6B2D-42E2-BE02-A2878D8E3640}" dt="2020-03-05T03:58:35.018" v="170" actId="6549"/>
          <ac:spMkLst>
            <pc:docMk/>
            <pc:sldMk cId="4221783869" sldId="566"/>
            <ac:spMk id="3" creationId="{F35E8CBB-5A7D-4DEF-BAF7-8DD5D042F9E0}"/>
          </ac:spMkLst>
        </pc:spChg>
        <pc:graphicFrameChg chg="mod">
          <ac:chgData name="Sam Mesel" userId="1ee7badb-5d1f-4872-89ae-dcf7b71f276a" providerId="ADAL" clId="{7CA32505-6B2D-42E2-BE02-A2878D8E3640}" dt="2020-03-05T03:58:19.441" v="161" actId="13782"/>
          <ac:graphicFrameMkLst>
            <pc:docMk/>
            <pc:sldMk cId="4221783869" sldId="566"/>
            <ac:graphicFrameMk id="9" creationId="{C7E54BA4-B9D5-4384-9A0F-2BBF5913642C}"/>
          </ac:graphicFrameMkLst>
        </pc:graphicFrameChg>
      </pc:sldChg>
      <pc:sldChg chg="modSp mod">
        <pc:chgData name="Sam Mesel" userId="1ee7badb-5d1f-4872-89ae-dcf7b71f276a" providerId="ADAL" clId="{7CA32505-6B2D-42E2-BE02-A2878D8E3640}" dt="2020-03-17T23:23:13.268" v="2461" actId="6549"/>
        <pc:sldMkLst>
          <pc:docMk/>
          <pc:sldMk cId="2147177822" sldId="568"/>
        </pc:sldMkLst>
        <pc:spChg chg="mod">
          <ac:chgData name="Sam Mesel" userId="1ee7badb-5d1f-4872-89ae-dcf7b71f276a" providerId="ADAL" clId="{7CA32505-6B2D-42E2-BE02-A2878D8E3640}" dt="2020-03-17T23:23:13.268" v="2461" actId="6549"/>
          <ac:spMkLst>
            <pc:docMk/>
            <pc:sldMk cId="2147177822" sldId="568"/>
            <ac:spMk id="2" creationId="{BC57B38C-8413-4861-A4F5-7DF656AEAD0D}"/>
          </ac:spMkLst>
        </pc:spChg>
      </pc:sldChg>
      <pc:sldChg chg="modSp modNotesTx">
        <pc:chgData name="Sam Mesel" userId="1ee7badb-5d1f-4872-89ae-dcf7b71f276a" providerId="ADAL" clId="{7CA32505-6B2D-42E2-BE02-A2878D8E3640}" dt="2020-03-17T23:24:15.596" v="2474" actId="20577"/>
        <pc:sldMkLst>
          <pc:docMk/>
          <pc:sldMk cId="2346840044" sldId="570"/>
        </pc:sldMkLst>
        <pc:graphicFrameChg chg="mod">
          <ac:chgData name="Sam Mesel" userId="1ee7badb-5d1f-4872-89ae-dcf7b71f276a" providerId="ADAL" clId="{7CA32505-6B2D-42E2-BE02-A2878D8E3640}" dt="2020-03-17T23:24:09.556" v="2473"/>
          <ac:graphicFrameMkLst>
            <pc:docMk/>
            <pc:sldMk cId="2346840044" sldId="570"/>
            <ac:graphicFrameMk id="3" creationId="{9484E1FE-7534-495E-863C-657A46F5E628}"/>
          </ac:graphicFrameMkLst>
        </pc:graphicFrameChg>
      </pc:sldChg>
      <pc:sldChg chg="addSp delSp modSp mod">
        <pc:chgData name="Sam Mesel" userId="1ee7badb-5d1f-4872-89ae-dcf7b71f276a" providerId="ADAL" clId="{7CA32505-6B2D-42E2-BE02-A2878D8E3640}" dt="2020-03-05T22:41:59.482" v="1808" actId="20577"/>
        <pc:sldMkLst>
          <pc:docMk/>
          <pc:sldMk cId="4248838292" sldId="573"/>
        </pc:sldMkLst>
        <pc:spChg chg="del mod">
          <ac:chgData name="Sam Mesel" userId="1ee7badb-5d1f-4872-89ae-dcf7b71f276a" providerId="ADAL" clId="{7CA32505-6B2D-42E2-BE02-A2878D8E3640}" dt="2020-03-05T22:39:31.513" v="1738" actId="12084"/>
          <ac:spMkLst>
            <pc:docMk/>
            <pc:sldMk cId="4248838292" sldId="573"/>
            <ac:spMk id="4" creationId="{F3616A99-090F-45E1-9334-58D58B148205}"/>
          </ac:spMkLst>
        </pc:spChg>
        <pc:graphicFrameChg chg="add mod">
          <ac:chgData name="Sam Mesel" userId="1ee7badb-5d1f-4872-89ae-dcf7b71f276a" providerId="ADAL" clId="{7CA32505-6B2D-42E2-BE02-A2878D8E3640}" dt="2020-03-05T22:41:59.482" v="1808" actId="20577"/>
          <ac:graphicFrameMkLst>
            <pc:docMk/>
            <pc:sldMk cId="4248838292" sldId="573"/>
            <ac:graphicFrameMk id="5" creationId="{54FAC4F4-38DA-480E-819C-168F142E37A2}"/>
          </ac:graphicFrameMkLst>
        </pc:graphicFrameChg>
      </pc:sldChg>
      <pc:sldChg chg="modSp mod">
        <pc:chgData name="Sam Mesel" userId="1ee7badb-5d1f-4872-89ae-dcf7b71f276a" providerId="ADAL" clId="{7CA32505-6B2D-42E2-BE02-A2878D8E3640}" dt="2020-03-20T19:28:07.294" v="2711" actId="12"/>
        <pc:sldMkLst>
          <pc:docMk/>
          <pc:sldMk cId="3563492871" sldId="575"/>
        </pc:sldMkLst>
        <pc:spChg chg="mod">
          <ac:chgData name="Sam Mesel" userId="1ee7badb-5d1f-4872-89ae-dcf7b71f276a" providerId="ADAL" clId="{7CA32505-6B2D-42E2-BE02-A2878D8E3640}" dt="2020-03-20T19:28:04.740" v="2710" actId="108"/>
          <ac:spMkLst>
            <pc:docMk/>
            <pc:sldMk cId="3563492871" sldId="575"/>
            <ac:spMk id="2" creationId="{BC57B38C-8413-4861-A4F5-7DF656AEAD0D}"/>
          </ac:spMkLst>
        </pc:spChg>
        <pc:spChg chg="mod">
          <ac:chgData name="Sam Mesel" userId="1ee7badb-5d1f-4872-89ae-dcf7b71f276a" providerId="ADAL" clId="{7CA32505-6B2D-42E2-BE02-A2878D8E3640}" dt="2020-03-20T19:28:07.294" v="2711" actId="12"/>
          <ac:spMkLst>
            <pc:docMk/>
            <pc:sldMk cId="3563492871" sldId="575"/>
            <ac:spMk id="3" creationId="{4897B8F8-26DF-42FB-ACB0-59929F1C2344}"/>
          </ac:spMkLst>
        </pc:spChg>
      </pc:sldChg>
      <pc:sldChg chg="modSp modNotesTx">
        <pc:chgData name="Sam Mesel" userId="1ee7badb-5d1f-4872-89ae-dcf7b71f276a" providerId="ADAL" clId="{7CA32505-6B2D-42E2-BE02-A2878D8E3640}" dt="2020-03-18T17:44:28.036" v="2656" actId="20577"/>
        <pc:sldMkLst>
          <pc:docMk/>
          <pc:sldMk cId="4206133277" sldId="577"/>
        </pc:sldMkLst>
        <pc:graphicFrameChg chg="mod">
          <ac:chgData name="Sam Mesel" userId="1ee7badb-5d1f-4872-89ae-dcf7b71f276a" providerId="ADAL" clId="{7CA32505-6B2D-42E2-BE02-A2878D8E3640}" dt="2020-03-18T17:44:02.067" v="2642" actId="20577"/>
          <ac:graphicFrameMkLst>
            <pc:docMk/>
            <pc:sldMk cId="4206133277" sldId="577"/>
            <ac:graphicFrameMk id="3" creationId="{9484E1FE-7534-495E-863C-657A46F5E628}"/>
          </ac:graphicFrameMkLst>
        </pc:graphicFrameChg>
      </pc:sldChg>
      <pc:sldChg chg="modSp mod">
        <pc:chgData name="Sam Mesel" userId="1ee7badb-5d1f-4872-89ae-dcf7b71f276a" providerId="ADAL" clId="{7CA32505-6B2D-42E2-BE02-A2878D8E3640}" dt="2020-03-05T23:07:32.960" v="2082" actId="20577"/>
        <pc:sldMkLst>
          <pc:docMk/>
          <pc:sldMk cId="3424530645" sldId="579"/>
        </pc:sldMkLst>
        <pc:spChg chg="mod">
          <ac:chgData name="Sam Mesel" userId="1ee7badb-5d1f-4872-89ae-dcf7b71f276a" providerId="ADAL" clId="{7CA32505-6B2D-42E2-BE02-A2878D8E3640}" dt="2020-03-05T23:07:32.960" v="2082" actId="20577"/>
          <ac:spMkLst>
            <pc:docMk/>
            <pc:sldMk cId="3424530645" sldId="579"/>
            <ac:spMk id="5" creationId="{55182462-DFDF-4D48-A92C-42FD52821C4E}"/>
          </ac:spMkLst>
        </pc:spChg>
      </pc:sldChg>
      <pc:sldChg chg="modSp mod">
        <pc:chgData name="Sam Mesel" userId="1ee7badb-5d1f-4872-89ae-dcf7b71f276a" providerId="ADAL" clId="{7CA32505-6B2D-42E2-BE02-A2878D8E3640}" dt="2020-03-17T23:44:35.113" v="2574" actId="20577"/>
        <pc:sldMkLst>
          <pc:docMk/>
          <pc:sldMk cId="3006523152" sldId="581"/>
        </pc:sldMkLst>
        <pc:spChg chg="mod">
          <ac:chgData name="Sam Mesel" userId="1ee7badb-5d1f-4872-89ae-dcf7b71f276a" providerId="ADAL" clId="{7CA32505-6B2D-42E2-BE02-A2878D8E3640}" dt="2020-03-17T23:44:35.113" v="2574" actId="20577"/>
          <ac:spMkLst>
            <pc:docMk/>
            <pc:sldMk cId="3006523152" sldId="581"/>
            <ac:spMk id="6" creationId="{637E159C-9ACF-48AE-927A-D5FB13695C7F}"/>
          </ac:spMkLst>
        </pc:spChg>
      </pc:sldChg>
      <pc:sldChg chg="modSp mod">
        <pc:chgData name="Sam Mesel" userId="1ee7badb-5d1f-4872-89ae-dcf7b71f276a" providerId="ADAL" clId="{7CA32505-6B2D-42E2-BE02-A2878D8E3640}" dt="2020-03-20T19:27:46.006" v="2708" actId="5793"/>
        <pc:sldMkLst>
          <pc:docMk/>
          <pc:sldMk cId="1528516655" sldId="582"/>
        </pc:sldMkLst>
        <pc:spChg chg="mod">
          <ac:chgData name="Sam Mesel" userId="1ee7badb-5d1f-4872-89ae-dcf7b71f276a" providerId="ADAL" clId="{7CA32505-6B2D-42E2-BE02-A2878D8E3640}" dt="2020-03-20T19:27:12.055" v="2662" actId="108"/>
          <ac:spMkLst>
            <pc:docMk/>
            <pc:sldMk cId="1528516655" sldId="582"/>
            <ac:spMk id="2" creationId="{BC57B38C-8413-4861-A4F5-7DF656AEAD0D}"/>
          </ac:spMkLst>
        </pc:spChg>
        <pc:spChg chg="mod">
          <ac:chgData name="Sam Mesel" userId="1ee7badb-5d1f-4872-89ae-dcf7b71f276a" providerId="ADAL" clId="{7CA32505-6B2D-42E2-BE02-A2878D8E3640}" dt="2020-03-20T19:27:46.006" v="2708" actId="5793"/>
          <ac:spMkLst>
            <pc:docMk/>
            <pc:sldMk cId="1528516655" sldId="582"/>
            <ac:spMk id="3" creationId="{4897B8F8-26DF-42FB-ACB0-59929F1C2344}"/>
          </ac:spMkLst>
        </pc:spChg>
      </pc:sldChg>
      <pc:sldChg chg="modSp modNotesTx">
        <pc:chgData name="Sam Mesel" userId="1ee7badb-5d1f-4872-89ae-dcf7b71f276a" providerId="ADAL" clId="{7CA32505-6B2D-42E2-BE02-A2878D8E3640}" dt="2020-03-17T23:46:55.544" v="2616" actId="20577"/>
        <pc:sldMkLst>
          <pc:docMk/>
          <pc:sldMk cId="2444463328" sldId="584"/>
        </pc:sldMkLst>
        <pc:graphicFrameChg chg="mod">
          <ac:chgData name="Sam Mesel" userId="1ee7badb-5d1f-4872-89ae-dcf7b71f276a" providerId="ADAL" clId="{7CA32505-6B2D-42E2-BE02-A2878D8E3640}" dt="2020-03-17T23:46:29.681" v="2607"/>
          <ac:graphicFrameMkLst>
            <pc:docMk/>
            <pc:sldMk cId="2444463328" sldId="584"/>
            <ac:graphicFrameMk id="3" creationId="{9484E1FE-7534-495E-863C-657A46F5E628}"/>
          </ac:graphicFrameMkLst>
        </pc:graphicFrameChg>
      </pc:sldChg>
      <pc:sldChg chg="modSp">
        <pc:chgData name="Sam Mesel" userId="1ee7badb-5d1f-4872-89ae-dcf7b71f276a" providerId="ADAL" clId="{7CA32505-6B2D-42E2-BE02-A2878D8E3640}" dt="2020-03-17T22:47:39.580" v="2445" actId="20577"/>
        <pc:sldMkLst>
          <pc:docMk/>
          <pc:sldMk cId="2669391059" sldId="596"/>
        </pc:sldMkLst>
        <pc:graphicFrameChg chg="mod">
          <ac:chgData name="Sam Mesel" userId="1ee7badb-5d1f-4872-89ae-dcf7b71f276a" providerId="ADAL" clId="{7CA32505-6B2D-42E2-BE02-A2878D8E3640}" dt="2020-03-17T22:47:39.580" v="2445" actId="20577"/>
          <ac:graphicFrameMkLst>
            <pc:docMk/>
            <pc:sldMk cId="2669391059" sldId="596"/>
            <ac:graphicFrameMk id="4" creationId="{D437032D-66F5-4217-A6E7-5417D8E385E2}"/>
          </ac:graphicFrameMkLst>
        </pc:graphicFrameChg>
        <pc:graphicFrameChg chg="mod">
          <ac:chgData name="Sam Mesel" userId="1ee7badb-5d1f-4872-89ae-dcf7b71f276a" providerId="ADAL" clId="{7CA32505-6B2D-42E2-BE02-A2878D8E3640}" dt="2020-03-05T21:20:24.160" v="455" actId="207"/>
          <ac:graphicFrameMkLst>
            <pc:docMk/>
            <pc:sldMk cId="2669391059" sldId="596"/>
            <ac:graphicFrameMk id="5" creationId="{6038F7FE-1DA1-4DBB-B788-2C7EB166AC5C}"/>
          </ac:graphicFrameMkLst>
        </pc:graphicFrameChg>
      </pc:sldChg>
      <pc:sldChg chg="modSp mod">
        <pc:chgData name="Sam Mesel" userId="1ee7badb-5d1f-4872-89ae-dcf7b71f276a" providerId="ADAL" clId="{7CA32505-6B2D-42E2-BE02-A2878D8E3640}" dt="2020-03-05T03:45:32.781" v="60" actId="1076"/>
        <pc:sldMkLst>
          <pc:docMk/>
          <pc:sldMk cId="3243458079" sldId="597"/>
        </pc:sldMkLst>
        <pc:spChg chg="mod">
          <ac:chgData name="Sam Mesel" userId="1ee7badb-5d1f-4872-89ae-dcf7b71f276a" providerId="ADAL" clId="{7CA32505-6B2D-42E2-BE02-A2878D8E3640}" dt="2020-03-05T03:45:32.781" v="60" actId="1076"/>
          <ac:spMkLst>
            <pc:docMk/>
            <pc:sldMk cId="3243458079" sldId="597"/>
            <ac:spMk id="24" creationId="{9FE1ABB5-5BE8-46DC-A11F-B8F964372A17}"/>
          </ac:spMkLst>
        </pc:spChg>
        <pc:cxnChg chg="mod">
          <ac:chgData name="Sam Mesel" userId="1ee7badb-5d1f-4872-89ae-dcf7b71f276a" providerId="ADAL" clId="{7CA32505-6B2D-42E2-BE02-A2878D8E3640}" dt="2020-03-05T03:45:25.277" v="58" actId="14100"/>
          <ac:cxnSpMkLst>
            <pc:docMk/>
            <pc:sldMk cId="3243458079" sldId="597"/>
            <ac:cxnSpMk id="20" creationId="{6109B004-4C23-4FAC-99F1-A21401BF2691}"/>
          </ac:cxnSpMkLst>
        </pc:cxnChg>
      </pc:sldChg>
      <pc:sldChg chg="modSp mod">
        <pc:chgData name="Sam Mesel" userId="1ee7badb-5d1f-4872-89ae-dcf7b71f276a" providerId="ADAL" clId="{7CA32505-6B2D-42E2-BE02-A2878D8E3640}" dt="2020-03-17T22:44:02.736" v="2444" actId="6549"/>
        <pc:sldMkLst>
          <pc:docMk/>
          <pc:sldMk cId="1097784745" sldId="598"/>
        </pc:sldMkLst>
        <pc:spChg chg="mod">
          <ac:chgData name="Sam Mesel" userId="1ee7badb-5d1f-4872-89ae-dcf7b71f276a" providerId="ADAL" clId="{7CA32505-6B2D-42E2-BE02-A2878D8E3640}" dt="2020-03-17T22:44:02.736" v="2444" actId="6549"/>
          <ac:spMkLst>
            <pc:docMk/>
            <pc:sldMk cId="1097784745" sldId="598"/>
            <ac:spMk id="4" creationId="{F3616A99-090F-45E1-9334-58D58B148205}"/>
          </ac:spMkLst>
        </pc:spChg>
        <pc:graphicFrameChg chg="mod">
          <ac:chgData name="Sam Mesel" userId="1ee7badb-5d1f-4872-89ae-dcf7b71f276a" providerId="ADAL" clId="{7CA32505-6B2D-42E2-BE02-A2878D8E3640}" dt="2020-03-05T21:14:35.835" v="374" actId="1076"/>
          <ac:graphicFrameMkLst>
            <pc:docMk/>
            <pc:sldMk cId="1097784745" sldId="598"/>
            <ac:graphicFrameMk id="10" creationId="{FCEC238A-94EC-4139-86D0-C4CF104F2FA0}"/>
          </ac:graphicFrameMkLst>
        </pc:graphicFrameChg>
      </pc:sldChg>
      <pc:sldChg chg="modSp mod">
        <pc:chgData name="Sam Mesel" userId="1ee7badb-5d1f-4872-89ae-dcf7b71f276a" providerId="ADAL" clId="{7CA32505-6B2D-42E2-BE02-A2878D8E3640}" dt="2020-03-05T21:24:14.108" v="469" actId="33524"/>
        <pc:sldMkLst>
          <pc:docMk/>
          <pc:sldMk cId="200290157" sldId="599"/>
        </pc:sldMkLst>
        <pc:spChg chg="mod">
          <ac:chgData name="Sam Mesel" userId="1ee7badb-5d1f-4872-89ae-dcf7b71f276a" providerId="ADAL" clId="{7CA32505-6B2D-42E2-BE02-A2878D8E3640}" dt="2020-03-05T21:24:14.108" v="469" actId="33524"/>
          <ac:spMkLst>
            <pc:docMk/>
            <pc:sldMk cId="200290157" sldId="599"/>
            <ac:spMk id="4" creationId="{F3616A99-090F-45E1-9334-58D58B148205}"/>
          </ac:spMkLst>
        </pc:spChg>
      </pc:sldChg>
      <pc:sldChg chg="modSp mod modAnim">
        <pc:chgData name="Sam Mesel" userId="1ee7badb-5d1f-4872-89ae-dcf7b71f276a" providerId="ADAL" clId="{7CA32505-6B2D-42E2-BE02-A2878D8E3640}" dt="2020-03-05T21:36:56.794" v="507" actId="20577"/>
        <pc:sldMkLst>
          <pc:docMk/>
          <pc:sldMk cId="994038105" sldId="600"/>
        </pc:sldMkLst>
        <pc:spChg chg="mod">
          <ac:chgData name="Sam Mesel" userId="1ee7badb-5d1f-4872-89ae-dcf7b71f276a" providerId="ADAL" clId="{7CA32505-6B2D-42E2-BE02-A2878D8E3640}" dt="2020-03-05T21:36:56.794" v="507" actId="20577"/>
          <ac:spMkLst>
            <pc:docMk/>
            <pc:sldMk cId="994038105" sldId="600"/>
            <ac:spMk id="27" creationId="{0EBCC322-8D94-4879-88A3-1EACCEE4E88A}"/>
          </ac:spMkLst>
        </pc:spChg>
        <pc:spChg chg="mod">
          <ac:chgData name="Sam Mesel" userId="1ee7badb-5d1f-4872-89ae-dcf7b71f276a" providerId="ADAL" clId="{7CA32505-6B2D-42E2-BE02-A2878D8E3640}" dt="2020-03-05T21:36:04.200" v="479" actId="6549"/>
          <ac:spMkLst>
            <pc:docMk/>
            <pc:sldMk cId="994038105" sldId="600"/>
            <ac:spMk id="28" creationId="{EE914440-D6FA-4328-8B96-B3F9D0E47EE0}"/>
          </ac:spMkLst>
        </pc:spChg>
      </pc:sldChg>
      <pc:sldChg chg="addSp delSp modSp mod">
        <pc:chgData name="Sam Mesel" userId="1ee7badb-5d1f-4872-89ae-dcf7b71f276a" providerId="ADAL" clId="{7CA32505-6B2D-42E2-BE02-A2878D8E3640}" dt="2020-03-05T21:49:32.653" v="1118" actId="20577"/>
        <pc:sldMkLst>
          <pc:docMk/>
          <pc:sldMk cId="3121385187" sldId="601"/>
        </pc:sldMkLst>
        <pc:spChg chg="del mod">
          <ac:chgData name="Sam Mesel" userId="1ee7badb-5d1f-4872-89ae-dcf7b71f276a" providerId="ADAL" clId="{7CA32505-6B2D-42E2-BE02-A2878D8E3640}" dt="2020-03-05T21:44:08.906" v="765" actId="12084"/>
          <ac:spMkLst>
            <pc:docMk/>
            <pc:sldMk cId="3121385187" sldId="601"/>
            <ac:spMk id="5" creationId="{24C1A325-6F43-4F8B-AC97-1072BF0A84B4}"/>
          </ac:spMkLst>
        </pc:spChg>
        <pc:graphicFrameChg chg="add mod">
          <ac:chgData name="Sam Mesel" userId="1ee7badb-5d1f-4872-89ae-dcf7b71f276a" providerId="ADAL" clId="{7CA32505-6B2D-42E2-BE02-A2878D8E3640}" dt="2020-03-05T21:49:32.653" v="1118" actId="20577"/>
          <ac:graphicFrameMkLst>
            <pc:docMk/>
            <pc:sldMk cId="3121385187" sldId="601"/>
            <ac:graphicFrameMk id="4" creationId="{0A0551B6-9EC1-42BC-B15E-507686A09312}"/>
          </ac:graphicFrameMkLst>
        </pc:graphicFrameChg>
      </pc:sldChg>
      <pc:sldChg chg="modSp del">
        <pc:chgData name="Sam Mesel" userId="1ee7badb-5d1f-4872-89ae-dcf7b71f276a" providerId="ADAL" clId="{7CA32505-6B2D-42E2-BE02-A2878D8E3640}" dt="2020-03-19T22:30:25.538" v="2659" actId="47"/>
        <pc:sldMkLst>
          <pc:docMk/>
          <pc:sldMk cId="2420422319" sldId="602"/>
        </pc:sldMkLst>
        <pc:graphicFrameChg chg="mod">
          <ac:chgData name="Sam Mesel" userId="1ee7badb-5d1f-4872-89ae-dcf7b71f276a" providerId="ADAL" clId="{7CA32505-6B2D-42E2-BE02-A2878D8E3640}" dt="2020-03-05T03:46:51.291" v="61" actId="13782"/>
          <ac:graphicFrameMkLst>
            <pc:docMk/>
            <pc:sldMk cId="2420422319" sldId="602"/>
            <ac:graphicFrameMk id="10" creationId="{E187638D-2B21-4A36-A70A-F5A0FAE62B1C}"/>
          </ac:graphicFrameMkLst>
        </pc:graphicFrameChg>
      </pc:sldChg>
      <pc:sldChg chg="modSp">
        <pc:chgData name="Sam Mesel" userId="1ee7badb-5d1f-4872-89ae-dcf7b71f276a" providerId="ADAL" clId="{7CA32505-6B2D-42E2-BE02-A2878D8E3640}" dt="2020-03-05T02:28:52.048" v="31"/>
        <pc:sldMkLst>
          <pc:docMk/>
          <pc:sldMk cId="2735926192" sldId="604"/>
        </pc:sldMkLst>
        <pc:spChg chg="mod">
          <ac:chgData name="Sam Mesel" userId="1ee7badb-5d1f-4872-89ae-dcf7b71f276a" providerId="ADAL" clId="{7CA32505-6B2D-42E2-BE02-A2878D8E3640}" dt="2020-03-05T02:28:52.048" v="31"/>
          <ac:spMkLst>
            <pc:docMk/>
            <pc:sldMk cId="2735926192" sldId="604"/>
            <ac:spMk id="20" creationId="{C321B790-A42B-4615-8886-FB1C9171170D}"/>
          </ac:spMkLst>
        </pc:spChg>
      </pc:sldChg>
      <pc:sldChg chg="modSp mod">
        <pc:chgData name="Sam Mesel" userId="1ee7badb-5d1f-4872-89ae-dcf7b71f276a" providerId="ADAL" clId="{7CA32505-6B2D-42E2-BE02-A2878D8E3640}" dt="2020-03-17T23:27:20.211" v="2531" actId="14100"/>
        <pc:sldMkLst>
          <pc:docMk/>
          <pc:sldMk cId="110240023" sldId="607"/>
        </pc:sldMkLst>
        <pc:spChg chg="mod">
          <ac:chgData name="Sam Mesel" userId="1ee7badb-5d1f-4872-89ae-dcf7b71f276a" providerId="ADAL" clId="{7CA32505-6B2D-42E2-BE02-A2878D8E3640}" dt="2020-03-17T23:27:20.211" v="2531" actId="14100"/>
          <ac:spMkLst>
            <pc:docMk/>
            <pc:sldMk cId="110240023" sldId="607"/>
            <ac:spMk id="8" creationId="{05ADF702-00A6-423F-9E00-50860C2E98AC}"/>
          </ac:spMkLst>
        </pc:spChg>
      </pc:sldChg>
      <pc:sldChg chg="addSp delSp modSp mod">
        <pc:chgData name="Sam Mesel" userId="1ee7badb-5d1f-4872-89ae-dcf7b71f276a" providerId="ADAL" clId="{7CA32505-6B2D-42E2-BE02-A2878D8E3640}" dt="2020-03-17T23:29:50.802" v="2532" actId="6549"/>
        <pc:sldMkLst>
          <pc:docMk/>
          <pc:sldMk cId="3804096970" sldId="615"/>
        </pc:sldMkLst>
        <pc:spChg chg="mod">
          <ac:chgData name="Sam Mesel" userId="1ee7badb-5d1f-4872-89ae-dcf7b71f276a" providerId="ADAL" clId="{7CA32505-6B2D-42E2-BE02-A2878D8E3640}" dt="2020-03-17T23:29:50.802" v="2532" actId="6549"/>
          <ac:spMkLst>
            <pc:docMk/>
            <pc:sldMk cId="3804096970" sldId="615"/>
            <ac:spMk id="3" creationId="{F35E8CBB-5A7D-4DEF-BAF7-8DD5D042F9E0}"/>
          </ac:spMkLst>
        </pc:spChg>
        <pc:spChg chg="del mod">
          <ac:chgData name="Sam Mesel" userId="1ee7badb-5d1f-4872-89ae-dcf7b71f276a" providerId="ADAL" clId="{7CA32505-6B2D-42E2-BE02-A2878D8E3640}" dt="2020-03-05T23:01:07.094" v="2054" actId="12084"/>
          <ac:spMkLst>
            <pc:docMk/>
            <pc:sldMk cId="3804096970" sldId="615"/>
            <ac:spMk id="4" creationId="{F3616A99-090F-45E1-9334-58D58B148205}"/>
          </ac:spMkLst>
        </pc:spChg>
        <pc:graphicFrameChg chg="add mod">
          <ac:chgData name="Sam Mesel" userId="1ee7badb-5d1f-4872-89ae-dcf7b71f276a" providerId="ADAL" clId="{7CA32505-6B2D-42E2-BE02-A2878D8E3640}" dt="2020-03-05T23:02:00.692" v="2070" actId="20577"/>
          <ac:graphicFrameMkLst>
            <pc:docMk/>
            <pc:sldMk cId="3804096970" sldId="615"/>
            <ac:graphicFrameMk id="5" creationId="{8218AF4A-403D-4A67-87BC-BF0DD8FEB0D5}"/>
          </ac:graphicFrameMkLst>
        </pc:graphicFrameChg>
      </pc:sldChg>
      <pc:sldChg chg="addSp delSp modSp mod">
        <pc:chgData name="Sam Mesel" userId="1ee7badb-5d1f-4872-89ae-dcf7b71f276a" providerId="ADAL" clId="{7CA32505-6B2D-42E2-BE02-A2878D8E3640}" dt="2020-03-05T21:57:58.179" v="1249" actId="20577"/>
        <pc:sldMkLst>
          <pc:docMk/>
          <pc:sldMk cId="3894491069" sldId="617"/>
        </pc:sldMkLst>
        <pc:spChg chg="del mod">
          <ac:chgData name="Sam Mesel" userId="1ee7badb-5d1f-4872-89ae-dcf7b71f276a" providerId="ADAL" clId="{7CA32505-6B2D-42E2-BE02-A2878D8E3640}" dt="2020-03-05T21:57:05.837" v="1189" actId="12084"/>
          <ac:spMkLst>
            <pc:docMk/>
            <pc:sldMk cId="3894491069" sldId="617"/>
            <ac:spMk id="24" creationId="{DE034EBD-3180-49C9-A72B-7FFAE4FCF0FA}"/>
          </ac:spMkLst>
        </pc:spChg>
        <pc:graphicFrameChg chg="add mod">
          <ac:chgData name="Sam Mesel" userId="1ee7badb-5d1f-4872-89ae-dcf7b71f276a" providerId="ADAL" clId="{7CA32505-6B2D-42E2-BE02-A2878D8E3640}" dt="2020-03-05T21:57:58.179" v="1249" actId="20577"/>
          <ac:graphicFrameMkLst>
            <pc:docMk/>
            <pc:sldMk cId="3894491069" sldId="617"/>
            <ac:graphicFrameMk id="4" creationId="{44ECF381-5A85-4152-A4A2-40DE21A6CB04}"/>
          </ac:graphicFrameMkLst>
        </pc:graphicFrameChg>
      </pc:sldChg>
      <pc:sldChg chg="addSp delSp modSp mod modAnim">
        <pc:chgData name="Sam Mesel" userId="1ee7badb-5d1f-4872-89ae-dcf7b71f276a" providerId="ADAL" clId="{7CA32505-6B2D-42E2-BE02-A2878D8E3640}" dt="2020-03-05T22:11:25.895" v="1386"/>
        <pc:sldMkLst>
          <pc:docMk/>
          <pc:sldMk cId="508126509" sldId="618"/>
        </pc:sldMkLst>
        <pc:spChg chg="add mod">
          <ac:chgData name="Sam Mesel" userId="1ee7badb-5d1f-4872-89ae-dcf7b71f276a" providerId="ADAL" clId="{7CA32505-6B2D-42E2-BE02-A2878D8E3640}" dt="2020-03-05T21:59:30.059" v="1261" actId="1076"/>
          <ac:spMkLst>
            <pc:docMk/>
            <pc:sldMk cId="508126509" sldId="618"/>
            <ac:spMk id="3" creationId="{03CE7E76-6007-458B-BC6E-FB49FBAE526B}"/>
          </ac:spMkLst>
        </pc:spChg>
        <pc:spChg chg="del mod">
          <ac:chgData name="Sam Mesel" userId="1ee7badb-5d1f-4872-89ae-dcf7b71f276a" providerId="ADAL" clId="{7CA32505-6B2D-42E2-BE02-A2878D8E3640}" dt="2020-03-05T03:52:22.355" v="74" actId="12084"/>
          <ac:spMkLst>
            <pc:docMk/>
            <pc:sldMk cId="508126509" sldId="618"/>
            <ac:spMk id="5" creationId="{35622013-AD39-49E7-86B3-948ECEC8BF96}"/>
          </ac:spMkLst>
        </pc:spChg>
        <pc:spChg chg="mod">
          <ac:chgData name="Sam Mesel" userId="1ee7badb-5d1f-4872-89ae-dcf7b71f276a" providerId="ADAL" clId="{7CA32505-6B2D-42E2-BE02-A2878D8E3640}" dt="2020-03-05T22:03:44.736" v="1314" actId="1037"/>
          <ac:spMkLst>
            <pc:docMk/>
            <pc:sldMk cId="508126509" sldId="618"/>
            <ac:spMk id="45" creationId="{713C2539-6321-4B50-B6DF-7905494F52A8}"/>
          </ac:spMkLst>
        </pc:spChg>
        <pc:spChg chg="mod">
          <ac:chgData name="Sam Mesel" userId="1ee7badb-5d1f-4872-89ae-dcf7b71f276a" providerId="ADAL" clId="{7CA32505-6B2D-42E2-BE02-A2878D8E3640}" dt="2020-03-05T03:57:12.237" v="157" actId="1076"/>
          <ac:spMkLst>
            <pc:docMk/>
            <pc:sldMk cId="508126509" sldId="618"/>
            <ac:spMk id="49" creationId="{BE91BDAD-9E00-46E3-81D6-547C19D238C5}"/>
          </ac:spMkLst>
        </pc:spChg>
        <pc:spChg chg="mod">
          <ac:chgData name="Sam Mesel" userId="1ee7badb-5d1f-4872-89ae-dcf7b71f276a" providerId="ADAL" clId="{7CA32505-6B2D-42E2-BE02-A2878D8E3640}" dt="2020-03-05T22:04:19.269" v="1318" actId="1076"/>
          <ac:spMkLst>
            <pc:docMk/>
            <pc:sldMk cId="508126509" sldId="618"/>
            <ac:spMk id="50" creationId="{960B5702-E38C-4C67-91F9-CB62DE0CE17A}"/>
          </ac:spMkLst>
        </pc:spChg>
        <pc:spChg chg="mod">
          <ac:chgData name="Sam Mesel" userId="1ee7badb-5d1f-4872-89ae-dcf7b71f276a" providerId="ADAL" clId="{7CA32505-6B2D-42E2-BE02-A2878D8E3640}" dt="2020-03-05T22:08:31.199" v="1349" actId="1076"/>
          <ac:spMkLst>
            <pc:docMk/>
            <pc:sldMk cId="508126509" sldId="618"/>
            <ac:spMk id="51" creationId="{844FF21F-9290-4A02-B225-5D06B1706572}"/>
          </ac:spMkLst>
        </pc:spChg>
        <pc:spChg chg="mod">
          <ac:chgData name="Sam Mesel" userId="1ee7badb-5d1f-4872-89ae-dcf7b71f276a" providerId="ADAL" clId="{7CA32505-6B2D-42E2-BE02-A2878D8E3640}" dt="2020-03-05T22:04:12.751" v="1317" actId="1076"/>
          <ac:spMkLst>
            <pc:docMk/>
            <pc:sldMk cId="508126509" sldId="618"/>
            <ac:spMk id="52" creationId="{43F1A2B2-1BCC-4944-99E9-01F2244FDF91}"/>
          </ac:spMkLst>
        </pc:spChg>
        <pc:spChg chg="mod">
          <ac:chgData name="Sam Mesel" userId="1ee7badb-5d1f-4872-89ae-dcf7b71f276a" providerId="ADAL" clId="{7CA32505-6B2D-42E2-BE02-A2878D8E3640}" dt="2020-03-05T22:05:27.054" v="1332" actId="1076"/>
          <ac:spMkLst>
            <pc:docMk/>
            <pc:sldMk cId="508126509" sldId="618"/>
            <ac:spMk id="53" creationId="{3403C397-13DE-4B9D-BE89-13492AF2100A}"/>
          </ac:spMkLst>
        </pc:spChg>
        <pc:spChg chg="mod">
          <ac:chgData name="Sam Mesel" userId="1ee7badb-5d1f-4872-89ae-dcf7b71f276a" providerId="ADAL" clId="{7CA32505-6B2D-42E2-BE02-A2878D8E3640}" dt="2020-03-05T22:01:04.439" v="1280" actId="1076"/>
          <ac:spMkLst>
            <pc:docMk/>
            <pc:sldMk cId="508126509" sldId="618"/>
            <ac:spMk id="54" creationId="{4E009345-05D5-47BA-8C16-8F2D9144DAAE}"/>
          </ac:spMkLst>
        </pc:spChg>
        <pc:spChg chg="mod">
          <ac:chgData name="Sam Mesel" userId="1ee7badb-5d1f-4872-89ae-dcf7b71f276a" providerId="ADAL" clId="{7CA32505-6B2D-42E2-BE02-A2878D8E3640}" dt="2020-03-05T22:04:52.572" v="1328" actId="1037"/>
          <ac:spMkLst>
            <pc:docMk/>
            <pc:sldMk cId="508126509" sldId="618"/>
            <ac:spMk id="55" creationId="{7A1C08B5-8F85-46B6-9F38-0D8F93C65596}"/>
          </ac:spMkLst>
        </pc:spChg>
        <pc:spChg chg="mod">
          <ac:chgData name="Sam Mesel" userId="1ee7badb-5d1f-4872-89ae-dcf7b71f276a" providerId="ADAL" clId="{7CA32505-6B2D-42E2-BE02-A2878D8E3640}" dt="2020-03-05T22:05:50.269" v="1336" actId="1076"/>
          <ac:spMkLst>
            <pc:docMk/>
            <pc:sldMk cId="508126509" sldId="618"/>
            <ac:spMk id="57" creationId="{1BEBD550-8228-458D-8D48-A68DF2E2C6E2}"/>
          </ac:spMkLst>
        </pc:spChg>
        <pc:spChg chg="mod">
          <ac:chgData name="Sam Mesel" userId="1ee7badb-5d1f-4872-89ae-dcf7b71f276a" providerId="ADAL" clId="{7CA32505-6B2D-42E2-BE02-A2878D8E3640}" dt="2020-03-05T22:04:52.572" v="1328" actId="1037"/>
          <ac:spMkLst>
            <pc:docMk/>
            <pc:sldMk cId="508126509" sldId="618"/>
            <ac:spMk id="58" creationId="{265477B7-89C5-4BD8-AB9C-AB555B57D6D7}"/>
          </ac:spMkLst>
        </pc:spChg>
        <pc:spChg chg="mod">
          <ac:chgData name="Sam Mesel" userId="1ee7badb-5d1f-4872-89ae-dcf7b71f276a" providerId="ADAL" clId="{7CA32505-6B2D-42E2-BE02-A2878D8E3640}" dt="2020-03-05T22:05:45.200" v="1335" actId="1076"/>
          <ac:spMkLst>
            <pc:docMk/>
            <pc:sldMk cId="508126509" sldId="618"/>
            <ac:spMk id="60" creationId="{9B6A7B81-CD87-47D1-9723-F5106ADE7681}"/>
          </ac:spMkLst>
        </pc:spChg>
        <pc:spChg chg="mod">
          <ac:chgData name="Sam Mesel" userId="1ee7badb-5d1f-4872-89ae-dcf7b71f276a" providerId="ADAL" clId="{7CA32505-6B2D-42E2-BE02-A2878D8E3640}" dt="2020-03-05T22:04:52.572" v="1328" actId="1037"/>
          <ac:spMkLst>
            <pc:docMk/>
            <pc:sldMk cId="508126509" sldId="618"/>
            <ac:spMk id="61" creationId="{4774679D-07B2-4D75-BADC-7D551AF04247}"/>
          </ac:spMkLst>
        </pc:spChg>
        <pc:spChg chg="mod">
          <ac:chgData name="Sam Mesel" userId="1ee7badb-5d1f-4872-89ae-dcf7b71f276a" providerId="ADAL" clId="{7CA32505-6B2D-42E2-BE02-A2878D8E3640}" dt="2020-03-05T22:05:38.877" v="1334" actId="1076"/>
          <ac:spMkLst>
            <pc:docMk/>
            <pc:sldMk cId="508126509" sldId="618"/>
            <ac:spMk id="63" creationId="{E733ADE8-00C8-4F4A-97C6-584F2E02292A}"/>
          </ac:spMkLst>
        </pc:spChg>
        <pc:spChg chg="mod">
          <ac:chgData name="Sam Mesel" userId="1ee7badb-5d1f-4872-89ae-dcf7b71f276a" providerId="ADAL" clId="{7CA32505-6B2D-42E2-BE02-A2878D8E3640}" dt="2020-03-05T22:04:52.572" v="1328" actId="1037"/>
          <ac:spMkLst>
            <pc:docMk/>
            <pc:sldMk cId="508126509" sldId="618"/>
            <ac:spMk id="64" creationId="{9BCB9B6A-EDFC-4144-9589-6534D2675055}"/>
          </ac:spMkLst>
        </pc:spChg>
        <pc:spChg chg="mod">
          <ac:chgData name="Sam Mesel" userId="1ee7badb-5d1f-4872-89ae-dcf7b71f276a" providerId="ADAL" clId="{7CA32505-6B2D-42E2-BE02-A2878D8E3640}" dt="2020-03-05T22:05:35.047" v="1333" actId="1076"/>
          <ac:spMkLst>
            <pc:docMk/>
            <pc:sldMk cId="508126509" sldId="618"/>
            <ac:spMk id="66" creationId="{B99775AE-9318-4C07-B75D-8142D0524C45}"/>
          </ac:spMkLst>
        </pc:spChg>
        <pc:grpChg chg="mod topLvl">
          <ac:chgData name="Sam Mesel" userId="1ee7badb-5d1f-4872-89ae-dcf7b71f276a" providerId="ADAL" clId="{7CA32505-6B2D-42E2-BE02-A2878D8E3640}" dt="2020-03-05T22:06:20.184" v="1337" actId="165"/>
          <ac:grpSpMkLst>
            <pc:docMk/>
            <pc:sldMk cId="508126509" sldId="618"/>
            <ac:grpSpMk id="70" creationId="{60B68641-40BF-42BE-BE09-BE510B978997}"/>
          </ac:grpSpMkLst>
        </pc:grpChg>
        <pc:grpChg chg="mod topLvl">
          <ac:chgData name="Sam Mesel" userId="1ee7badb-5d1f-4872-89ae-dcf7b71f276a" providerId="ADAL" clId="{7CA32505-6B2D-42E2-BE02-A2878D8E3640}" dt="2020-03-05T22:06:20.184" v="1337" actId="165"/>
          <ac:grpSpMkLst>
            <pc:docMk/>
            <pc:sldMk cId="508126509" sldId="618"/>
            <ac:grpSpMk id="71" creationId="{BAD4FF2D-3DF1-45F9-9F9A-37360A932964}"/>
          </ac:grpSpMkLst>
        </pc:grpChg>
        <pc:grpChg chg="mod topLvl">
          <ac:chgData name="Sam Mesel" userId="1ee7badb-5d1f-4872-89ae-dcf7b71f276a" providerId="ADAL" clId="{7CA32505-6B2D-42E2-BE02-A2878D8E3640}" dt="2020-03-05T22:06:20.184" v="1337" actId="165"/>
          <ac:grpSpMkLst>
            <pc:docMk/>
            <pc:sldMk cId="508126509" sldId="618"/>
            <ac:grpSpMk id="72" creationId="{3AC898B8-89C4-4B77-B382-C0B0CC436AF2}"/>
          </ac:grpSpMkLst>
        </pc:grpChg>
        <pc:grpChg chg="mod topLvl">
          <ac:chgData name="Sam Mesel" userId="1ee7badb-5d1f-4872-89ae-dcf7b71f276a" providerId="ADAL" clId="{7CA32505-6B2D-42E2-BE02-A2878D8E3640}" dt="2020-03-05T22:06:20.184" v="1337" actId="165"/>
          <ac:grpSpMkLst>
            <pc:docMk/>
            <pc:sldMk cId="508126509" sldId="618"/>
            <ac:grpSpMk id="73" creationId="{997983ED-F273-4B12-8BD9-D94635F57F61}"/>
          </ac:grpSpMkLst>
        </pc:grpChg>
        <pc:grpChg chg="mod topLvl">
          <ac:chgData name="Sam Mesel" userId="1ee7badb-5d1f-4872-89ae-dcf7b71f276a" providerId="ADAL" clId="{7CA32505-6B2D-42E2-BE02-A2878D8E3640}" dt="2020-03-05T22:06:20.184" v="1337" actId="165"/>
          <ac:grpSpMkLst>
            <pc:docMk/>
            <pc:sldMk cId="508126509" sldId="618"/>
            <ac:grpSpMk id="74" creationId="{69DF7063-04A2-4E40-B7B7-9297BF8B3542}"/>
          </ac:grpSpMkLst>
        </pc:grpChg>
        <pc:grpChg chg="del mod">
          <ac:chgData name="Sam Mesel" userId="1ee7badb-5d1f-4872-89ae-dcf7b71f276a" providerId="ADAL" clId="{7CA32505-6B2D-42E2-BE02-A2878D8E3640}" dt="2020-03-05T22:06:20.184" v="1337" actId="165"/>
          <ac:grpSpMkLst>
            <pc:docMk/>
            <pc:sldMk cId="508126509" sldId="618"/>
            <ac:grpSpMk id="75" creationId="{2E46A7FA-819E-4EDF-918B-CCA0CD78F49E}"/>
          </ac:grpSpMkLst>
        </pc:grpChg>
        <pc:graphicFrameChg chg="add mod">
          <ac:chgData name="Sam Mesel" userId="1ee7badb-5d1f-4872-89ae-dcf7b71f276a" providerId="ADAL" clId="{7CA32505-6B2D-42E2-BE02-A2878D8E3640}" dt="2020-03-05T22:03:06.015" v="1303" actId="14100"/>
          <ac:graphicFrameMkLst>
            <pc:docMk/>
            <pc:sldMk cId="508126509" sldId="618"/>
            <ac:graphicFrameMk id="2" creationId="{69309ACB-1DFC-421B-8DFA-80763FE75468}"/>
          </ac:graphicFrameMkLst>
        </pc:graphicFrameChg>
        <pc:cxnChg chg="mod topLvl">
          <ac:chgData name="Sam Mesel" userId="1ee7badb-5d1f-4872-89ae-dcf7b71f276a" providerId="ADAL" clId="{7CA32505-6B2D-42E2-BE02-A2878D8E3640}" dt="2020-03-05T22:06:20.184" v="1337" actId="165"/>
          <ac:cxnSpMkLst>
            <pc:docMk/>
            <pc:sldMk cId="508126509" sldId="618"/>
            <ac:cxnSpMk id="43" creationId="{070D6CE5-4F9E-44BC-A783-DFBBF89D3934}"/>
          </ac:cxnSpMkLst>
        </pc:cxnChg>
        <pc:cxnChg chg="mod topLvl">
          <ac:chgData name="Sam Mesel" userId="1ee7badb-5d1f-4872-89ae-dcf7b71f276a" providerId="ADAL" clId="{7CA32505-6B2D-42E2-BE02-A2878D8E3640}" dt="2020-03-05T22:06:20.184" v="1337" actId="165"/>
          <ac:cxnSpMkLst>
            <pc:docMk/>
            <pc:sldMk cId="508126509" sldId="618"/>
            <ac:cxnSpMk id="44" creationId="{213134DF-3638-47D1-8CEC-0196AC8C346E}"/>
          </ac:cxnSpMkLst>
        </pc:cxnChg>
        <pc:cxnChg chg="mod topLvl">
          <ac:chgData name="Sam Mesel" userId="1ee7badb-5d1f-4872-89ae-dcf7b71f276a" providerId="ADAL" clId="{7CA32505-6B2D-42E2-BE02-A2878D8E3640}" dt="2020-03-05T22:06:20.184" v="1337" actId="165"/>
          <ac:cxnSpMkLst>
            <pc:docMk/>
            <pc:sldMk cId="508126509" sldId="618"/>
            <ac:cxnSpMk id="46" creationId="{54547778-B203-4895-A55B-45AE5AF61174}"/>
          </ac:cxnSpMkLst>
        </pc:cxnChg>
        <pc:cxnChg chg="mod topLvl">
          <ac:chgData name="Sam Mesel" userId="1ee7badb-5d1f-4872-89ae-dcf7b71f276a" providerId="ADAL" clId="{7CA32505-6B2D-42E2-BE02-A2878D8E3640}" dt="2020-03-05T22:06:20.184" v="1337" actId="165"/>
          <ac:cxnSpMkLst>
            <pc:docMk/>
            <pc:sldMk cId="508126509" sldId="618"/>
            <ac:cxnSpMk id="47" creationId="{23951D6D-28E7-4942-BEB1-95CB920EBD65}"/>
          </ac:cxnSpMkLst>
        </pc:cxnChg>
      </pc:sldChg>
      <pc:sldChg chg="addSp delSp modSp mod">
        <pc:chgData name="Sam Mesel" userId="1ee7badb-5d1f-4872-89ae-dcf7b71f276a" providerId="ADAL" clId="{7CA32505-6B2D-42E2-BE02-A2878D8E3640}" dt="2020-03-17T23:22:10.799" v="2457" actId="20577"/>
        <pc:sldMkLst>
          <pc:docMk/>
          <pc:sldMk cId="4286818092" sldId="620"/>
        </pc:sldMkLst>
        <pc:spChg chg="del mod">
          <ac:chgData name="Sam Mesel" userId="1ee7badb-5d1f-4872-89ae-dcf7b71f276a" providerId="ADAL" clId="{7CA32505-6B2D-42E2-BE02-A2878D8E3640}" dt="2020-03-05T22:27:02.010" v="1584" actId="12084"/>
          <ac:spMkLst>
            <pc:docMk/>
            <pc:sldMk cId="4286818092" sldId="620"/>
            <ac:spMk id="24" creationId="{DE034EBD-3180-49C9-A72B-7FFAE4FCF0FA}"/>
          </ac:spMkLst>
        </pc:spChg>
        <pc:graphicFrameChg chg="add mod">
          <ac:chgData name="Sam Mesel" userId="1ee7badb-5d1f-4872-89ae-dcf7b71f276a" providerId="ADAL" clId="{7CA32505-6B2D-42E2-BE02-A2878D8E3640}" dt="2020-03-17T23:22:10.799" v="2457" actId="20577"/>
          <ac:graphicFrameMkLst>
            <pc:docMk/>
            <pc:sldMk cId="4286818092" sldId="620"/>
            <ac:graphicFrameMk id="4" creationId="{A5CB17EB-D61B-46D3-8502-A0E25AA528E4}"/>
          </ac:graphicFrameMkLst>
        </pc:graphicFrameChg>
      </pc:sldChg>
      <pc:sldChg chg="modSp mod">
        <pc:chgData name="Sam Mesel" userId="1ee7badb-5d1f-4872-89ae-dcf7b71f276a" providerId="ADAL" clId="{7CA32505-6B2D-42E2-BE02-A2878D8E3640}" dt="2020-03-05T22:46:38.748" v="1842" actId="20577"/>
        <pc:sldMkLst>
          <pc:docMk/>
          <pc:sldMk cId="1030677442" sldId="621"/>
        </pc:sldMkLst>
        <pc:spChg chg="mod">
          <ac:chgData name="Sam Mesel" userId="1ee7badb-5d1f-4872-89ae-dcf7b71f276a" providerId="ADAL" clId="{7CA32505-6B2D-42E2-BE02-A2878D8E3640}" dt="2020-03-05T22:45:35.662" v="1823" actId="6549"/>
          <ac:spMkLst>
            <pc:docMk/>
            <pc:sldMk cId="1030677442" sldId="621"/>
            <ac:spMk id="6" creationId="{70F92798-54C4-42CE-9509-349D1E88B39C}"/>
          </ac:spMkLst>
        </pc:spChg>
        <pc:graphicFrameChg chg="mod">
          <ac:chgData name="Sam Mesel" userId="1ee7badb-5d1f-4872-89ae-dcf7b71f276a" providerId="ADAL" clId="{7CA32505-6B2D-42E2-BE02-A2878D8E3640}" dt="2020-03-05T22:46:38.748" v="1842" actId="20577"/>
          <ac:graphicFrameMkLst>
            <pc:docMk/>
            <pc:sldMk cId="1030677442" sldId="621"/>
            <ac:graphicFrameMk id="7" creationId="{8054562B-EDA4-4A5F-95DF-6B68DF7EFF40}"/>
          </ac:graphicFrameMkLst>
        </pc:graphicFrameChg>
      </pc:sldChg>
      <pc:sldChg chg="addSp delSp modSp mod">
        <pc:chgData name="Sam Mesel" userId="1ee7badb-5d1f-4872-89ae-dcf7b71f276a" providerId="ADAL" clId="{7CA32505-6B2D-42E2-BE02-A2878D8E3640}" dt="2020-03-05T21:12:04.904" v="349" actId="20577"/>
        <pc:sldMkLst>
          <pc:docMk/>
          <pc:sldMk cId="3727622838" sldId="622"/>
        </pc:sldMkLst>
        <pc:spChg chg="del mod">
          <ac:chgData name="Sam Mesel" userId="1ee7badb-5d1f-4872-89ae-dcf7b71f276a" providerId="ADAL" clId="{7CA32505-6B2D-42E2-BE02-A2878D8E3640}" dt="2020-03-05T02:31:21.972" v="52" actId="12084"/>
          <ac:spMkLst>
            <pc:docMk/>
            <pc:sldMk cId="3727622838" sldId="622"/>
            <ac:spMk id="4" creationId="{F3616A99-090F-45E1-9334-58D58B148205}"/>
          </ac:spMkLst>
        </pc:spChg>
        <pc:graphicFrameChg chg="mod">
          <ac:chgData name="Sam Mesel" userId="1ee7badb-5d1f-4872-89ae-dcf7b71f276a" providerId="ADAL" clId="{7CA32505-6B2D-42E2-BE02-A2878D8E3640}" dt="2020-03-05T02:31:39.842" v="56" actId="14100"/>
          <ac:graphicFrameMkLst>
            <pc:docMk/>
            <pc:sldMk cId="3727622838" sldId="622"/>
            <ac:graphicFrameMk id="5" creationId="{D7AA4849-9265-4768-8404-82A32BB2007A}"/>
          </ac:graphicFrameMkLst>
        </pc:graphicFrameChg>
        <pc:graphicFrameChg chg="add mod">
          <ac:chgData name="Sam Mesel" userId="1ee7badb-5d1f-4872-89ae-dcf7b71f276a" providerId="ADAL" clId="{7CA32505-6B2D-42E2-BE02-A2878D8E3640}" dt="2020-03-05T21:12:04.904" v="349" actId="20577"/>
          <ac:graphicFrameMkLst>
            <pc:docMk/>
            <pc:sldMk cId="3727622838" sldId="622"/>
            <ac:graphicFrameMk id="10" creationId="{5A2BA549-9659-4CD7-888E-C537D5FFC7E6}"/>
          </ac:graphicFrameMkLst>
        </pc:graphicFrameChg>
      </pc:sldChg>
      <pc:sldChg chg="modSp mod">
        <pc:chgData name="Sam Mesel" userId="1ee7badb-5d1f-4872-89ae-dcf7b71f276a" providerId="ADAL" clId="{7CA32505-6B2D-42E2-BE02-A2878D8E3640}" dt="2020-03-05T22:50:13.738" v="1843" actId="6549"/>
        <pc:sldMkLst>
          <pc:docMk/>
          <pc:sldMk cId="593398684" sldId="624"/>
        </pc:sldMkLst>
        <pc:spChg chg="mod">
          <ac:chgData name="Sam Mesel" userId="1ee7badb-5d1f-4872-89ae-dcf7b71f276a" providerId="ADAL" clId="{7CA32505-6B2D-42E2-BE02-A2878D8E3640}" dt="2020-03-05T22:50:13.738" v="1843" actId="6549"/>
          <ac:spMkLst>
            <pc:docMk/>
            <pc:sldMk cId="593398684" sldId="624"/>
            <ac:spMk id="8" creationId="{D4E53F4A-1426-4587-A994-2539692BA5CD}"/>
          </ac:spMkLst>
        </pc:spChg>
      </pc:sldChg>
      <pc:sldChg chg="addSp delSp modSp mod modNotes">
        <pc:chgData name="Sam Mesel" userId="1ee7badb-5d1f-4872-89ae-dcf7b71f276a" providerId="ADAL" clId="{7CA32505-6B2D-42E2-BE02-A2878D8E3640}" dt="2020-03-05T23:46:53.242" v="2443" actId="20577"/>
        <pc:sldMkLst>
          <pc:docMk/>
          <pc:sldMk cId="2024360696" sldId="627"/>
        </pc:sldMkLst>
        <pc:spChg chg="mod">
          <ac:chgData name="Sam Mesel" userId="1ee7badb-5d1f-4872-89ae-dcf7b71f276a" providerId="ADAL" clId="{7CA32505-6B2D-42E2-BE02-A2878D8E3640}" dt="2020-03-05T23:40:24.826" v="2226" actId="6549"/>
          <ac:spMkLst>
            <pc:docMk/>
            <pc:sldMk cId="2024360696" sldId="627"/>
            <ac:spMk id="2" creationId="{EB67312A-9819-43C6-8D84-D9136E6CFFCC}"/>
          </ac:spMkLst>
        </pc:spChg>
        <pc:spChg chg="mod">
          <ac:chgData name="Sam Mesel" userId="1ee7badb-5d1f-4872-89ae-dcf7b71f276a" providerId="ADAL" clId="{7CA32505-6B2D-42E2-BE02-A2878D8E3640}" dt="2020-03-05T23:44:48.336" v="2433" actId="27636"/>
          <ac:spMkLst>
            <pc:docMk/>
            <pc:sldMk cId="2024360696" sldId="627"/>
            <ac:spMk id="4" creationId="{F3616A99-090F-45E1-9334-58D58B148205}"/>
          </ac:spMkLst>
        </pc:spChg>
        <pc:spChg chg="add del mod">
          <ac:chgData name="Sam Mesel" userId="1ee7badb-5d1f-4872-89ae-dcf7b71f276a" providerId="ADAL" clId="{7CA32505-6B2D-42E2-BE02-A2878D8E3640}" dt="2020-03-05T23:45:36.613" v="2440" actId="12084"/>
          <ac:spMkLst>
            <pc:docMk/>
            <pc:sldMk cId="2024360696" sldId="627"/>
            <ac:spMk id="5" creationId="{BDB2BD55-C0A1-472A-9CB5-504AC8572A5A}"/>
          </ac:spMkLst>
        </pc:spChg>
        <pc:graphicFrameChg chg="add mod">
          <ac:chgData name="Sam Mesel" userId="1ee7badb-5d1f-4872-89ae-dcf7b71f276a" providerId="ADAL" clId="{7CA32505-6B2D-42E2-BE02-A2878D8E3640}" dt="2020-03-05T23:46:53.242" v="2443" actId="20577"/>
          <ac:graphicFrameMkLst>
            <pc:docMk/>
            <pc:sldMk cId="2024360696" sldId="627"/>
            <ac:graphicFrameMk id="6" creationId="{F967AF4A-2A1C-462A-B644-579C945DCE1E}"/>
          </ac:graphicFrameMkLst>
        </pc:graphicFrameChg>
      </pc:sldChg>
      <pc:sldChg chg="addSp delSp modSp mod">
        <pc:chgData name="Sam Mesel" userId="1ee7badb-5d1f-4872-89ae-dcf7b71f276a" providerId="ADAL" clId="{7CA32505-6B2D-42E2-BE02-A2878D8E3640}" dt="2020-03-05T23:26:01.677" v="2135" actId="20577"/>
        <pc:sldMkLst>
          <pc:docMk/>
          <pc:sldMk cId="3702163554" sldId="630"/>
        </pc:sldMkLst>
        <pc:spChg chg="del mod">
          <ac:chgData name="Sam Mesel" userId="1ee7badb-5d1f-4872-89ae-dcf7b71f276a" providerId="ADAL" clId="{7CA32505-6B2D-42E2-BE02-A2878D8E3640}" dt="2020-03-05T23:25:39.916" v="2098" actId="12084"/>
          <ac:spMkLst>
            <pc:docMk/>
            <pc:sldMk cId="3702163554" sldId="630"/>
            <ac:spMk id="13" creationId="{885F2BFB-4471-4E46-BB83-F9FEC705CDC9}"/>
          </ac:spMkLst>
        </pc:spChg>
        <pc:graphicFrameChg chg="add mod">
          <ac:chgData name="Sam Mesel" userId="1ee7badb-5d1f-4872-89ae-dcf7b71f276a" providerId="ADAL" clId="{7CA32505-6B2D-42E2-BE02-A2878D8E3640}" dt="2020-03-05T23:26:01.677" v="2135" actId="20577"/>
          <ac:graphicFrameMkLst>
            <pc:docMk/>
            <pc:sldMk cId="3702163554" sldId="630"/>
            <ac:graphicFrameMk id="4" creationId="{1B788303-8EA3-412B-B41D-DEC47C2A526F}"/>
          </ac:graphicFrameMkLst>
        </pc:graphicFrameChg>
      </pc:sldChg>
      <pc:sldChg chg="modSp">
        <pc:chgData name="Sam Mesel" userId="1ee7badb-5d1f-4872-89ae-dcf7b71f276a" providerId="ADAL" clId="{7CA32505-6B2D-42E2-BE02-A2878D8E3640}" dt="2020-03-17T23:42:10.140" v="2571" actId="20577"/>
        <pc:sldMkLst>
          <pc:docMk/>
          <pc:sldMk cId="2857195574" sldId="632"/>
        </pc:sldMkLst>
        <pc:graphicFrameChg chg="mod">
          <ac:chgData name="Sam Mesel" userId="1ee7badb-5d1f-4872-89ae-dcf7b71f276a" providerId="ADAL" clId="{7CA32505-6B2D-42E2-BE02-A2878D8E3640}" dt="2020-03-17T23:42:10.140" v="2571" actId="20577"/>
          <ac:graphicFrameMkLst>
            <pc:docMk/>
            <pc:sldMk cId="2857195574" sldId="632"/>
            <ac:graphicFrameMk id="10" creationId="{75AC7946-B543-4AC6-BEEB-2081C063A73D}"/>
          </ac:graphicFrameMkLst>
        </pc:graphicFrameChg>
      </pc:sldChg>
      <pc:sldChg chg="modSp modNotes">
        <pc:chgData name="Sam Mesel" userId="1ee7badb-5d1f-4872-89ae-dcf7b71f276a" providerId="ADAL" clId="{7CA32505-6B2D-42E2-BE02-A2878D8E3640}" dt="2020-03-05T23:06:39.690" v="2077" actId="13782"/>
        <pc:sldMkLst>
          <pc:docMk/>
          <pc:sldMk cId="2202610295" sldId="635"/>
        </pc:sldMkLst>
        <pc:graphicFrameChg chg="mod">
          <ac:chgData name="Sam Mesel" userId="1ee7badb-5d1f-4872-89ae-dcf7b71f276a" providerId="ADAL" clId="{7CA32505-6B2D-42E2-BE02-A2878D8E3640}" dt="2020-03-05T23:06:39.690" v="2077" actId="13782"/>
          <ac:graphicFrameMkLst>
            <pc:docMk/>
            <pc:sldMk cId="2202610295" sldId="635"/>
            <ac:graphicFrameMk id="5" creationId="{85FCFEA5-76C0-481C-AAC4-2ED55A37454B}"/>
          </ac:graphicFrameMkLst>
        </pc:graphicFrameChg>
      </pc:sldChg>
      <pc:sldChg chg="addSp delSp modSp mod">
        <pc:chgData name="Sam Mesel" userId="1ee7badb-5d1f-4872-89ae-dcf7b71f276a" providerId="ADAL" clId="{7CA32505-6B2D-42E2-BE02-A2878D8E3640}" dt="2020-03-05T22:54:36.974" v="1928" actId="14100"/>
        <pc:sldMkLst>
          <pc:docMk/>
          <pc:sldMk cId="533282277" sldId="643"/>
        </pc:sldMkLst>
        <pc:spChg chg="del mod">
          <ac:chgData name="Sam Mesel" userId="1ee7badb-5d1f-4872-89ae-dcf7b71f276a" providerId="ADAL" clId="{7CA32505-6B2D-42E2-BE02-A2878D8E3640}" dt="2020-03-05T22:54:32.854" v="1927" actId="12084"/>
          <ac:spMkLst>
            <pc:docMk/>
            <pc:sldMk cId="533282277" sldId="643"/>
            <ac:spMk id="25" creationId="{A0CA769B-4521-40FE-9E23-E3CEDE217E0A}"/>
          </ac:spMkLst>
        </pc:spChg>
        <pc:graphicFrameChg chg="add mod">
          <ac:chgData name="Sam Mesel" userId="1ee7badb-5d1f-4872-89ae-dcf7b71f276a" providerId="ADAL" clId="{7CA32505-6B2D-42E2-BE02-A2878D8E3640}" dt="2020-03-05T22:54:36.974" v="1928" actId="14100"/>
          <ac:graphicFrameMkLst>
            <pc:docMk/>
            <pc:sldMk cId="533282277" sldId="643"/>
            <ac:graphicFrameMk id="4" creationId="{BBDAC1E8-19B2-4351-BCA3-CFF0A90C4511}"/>
          </ac:graphicFrameMkLst>
        </pc:graphicFrameChg>
      </pc:sldChg>
      <pc:sldChg chg="delSp modSp mod">
        <pc:chgData name="Sam Mesel" userId="1ee7badb-5d1f-4872-89ae-dcf7b71f276a" providerId="ADAL" clId="{7CA32505-6B2D-42E2-BE02-A2878D8E3640}" dt="2020-03-19T22:30:29.180" v="2660" actId="478"/>
        <pc:sldMkLst>
          <pc:docMk/>
          <pc:sldMk cId="3563909604" sldId="644"/>
        </pc:sldMkLst>
        <pc:spChg chg="mod">
          <ac:chgData name="Sam Mesel" userId="1ee7badb-5d1f-4872-89ae-dcf7b71f276a" providerId="ADAL" clId="{7CA32505-6B2D-42E2-BE02-A2878D8E3640}" dt="2020-03-19T22:30:21.894" v="2658" actId="27636"/>
          <ac:spMkLst>
            <pc:docMk/>
            <pc:sldMk cId="3563909604" sldId="644"/>
            <ac:spMk id="2" creationId="{EB67312A-9819-43C6-8D84-D9136E6CFFCC}"/>
          </ac:spMkLst>
        </pc:spChg>
        <pc:spChg chg="del">
          <ac:chgData name="Sam Mesel" userId="1ee7badb-5d1f-4872-89ae-dcf7b71f276a" providerId="ADAL" clId="{7CA32505-6B2D-42E2-BE02-A2878D8E3640}" dt="2020-03-19T22:30:29.180" v="2660" actId="478"/>
          <ac:spMkLst>
            <pc:docMk/>
            <pc:sldMk cId="3563909604" sldId="644"/>
            <ac:spMk id="4" creationId="{CB772731-F886-4083-9693-7418048D2D92}"/>
          </ac:spMkLst>
        </pc:spChg>
      </pc:sldChg>
      <pc:sldChg chg="modSp add del">
        <pc:chgData name="Sam Mesel" userId="1ee7badb-5d1f-4872-89ae-dcf7b71f276a" providerId="ADAL" clId="{7CA32505-6B2D-42E2-BE02-A2878D8E3640}" dt="2020-03-18T17:45:37.389" v="2657" actId="47"/>
        <pc:sldMkLst>
          <pc:docMk/>
          <pc:sldMk cId="4255870416" sldId="644"/>
        </pc:sldMkLst>
        <pc:graphicFrameChg chg="mod">
          <ac:chgData name="Sam Mesel" userId="1ee7badb-5d1f-4872-89ae-dcf7b71f276a" providerId="ADAL" clId="{7CA32505-6B2D-42E2-BE02-A2878D8E3640}" dt="2020-03-17T23:43:37.317" v="2572" actId="14100"/>
          <ac:graphicFrameMkLst>
            <pc:docMk/>
            <pc:sldMk cId="4255870416" sldId="644"/>
            <ac:graphicFrameMk id="10" creationId="{75AC7946-B543-4AC6-BEEB-2081C063A73D}"/>
          </ac:graphicFrameMkLst>
        </pc:graphicFrameChg>
      </pc:sldChg>
    </pc:docChg>
  </pc:docChgLst>
  <pc:docChgLst>
    <pc:chgData name="Daniel Valero" userId="31dd2ff7-9a08-462f-9096-6c487a317220" providerId="ADAL" clId="{3233A037-A696-4C5C-A7EB-1B25237BBA68}"/>
    <pc:docChg chg="modSld">
      <pc:chgData name="Daniel Valero" userId="31dd2ff7-9a08-462f-9096-6c487a317220" providerId="ADAL" clId="{3233A037-A696-4C5C-A7EB-1B25237BBA68}" dt="2020-03-18T16:11:29" v="28" actId="20577"/>
      <pc:docMkLst>
        <pc:docMk/>
      </pc:docMkLst>
      <pc:sldChg chg="modSp">
        <pc:chgData name="Daniel Valero" userId="31dd2ff7-9a08-462f-9096-6c487a317220" providerId="ADAL" clId="{3233A037-A696-4C5C-A7EB-1B25237BBA68}" dt="2020-03-18T16:11:29" v="28" actId="20577"/>
        <pc:sldMkLst>
          <pc:docMk/>
          <pc:sldMk cId="2857195574" sldId="632"/>
        </pc:sldMkLst>
        <pc:graphicFrameChg chg="mod">
          <ac:chgData name="Daniel Valero" userId="31dd2ff7-9a08-462f-9096-6c487a317220" providerId="ADAL" clId="{3233A037-A696-4C5C-A7EB-1B25237BBA68}" dt="2020-03-18T16:11:29" v="28" actId="20577"/>
          <ac:graphicFrameMkLst>
            <pc:docMk/>
            <pc:sldMk cId="2857195574" sldId="632"/>
            <ac:graphicFrameMk id="10" creationId="{75AC7946-B543-4AC6-BEEB-2081C063A73D}"/>
          </ac:graphicFrameMkLst>
        </pc:graphicFrameChg>
      </pc:sldChg>
      <pc:sldChg chg="modSp">
        <pc:chgData name="Daniel Valero" userId="31dd2ff7-9a08-462f-9096-6c487a317220" providerId="ADAL" clId="{3233A037-A696-4C5C-A7EB-1B25237BBA68}" dt="2020-03-18T16:10:28.446" v="20" actId="255"/>
        <pc:sldMkLst>
          <pc:docMk/>
          <pc:sldMk cId="2202610295" sldId="635"/>
        </pc:sldMkLst>
        <pc:graphicFrameChg chg="mod">
          <ac:chgData name="Daniel Valero" userId="31dd2ff7-9a08-462f-9096-6c487a317220" providerId="ADAL" clId="{3233A037-A696-4C5C-A7EB-1B25237BBA68}" dt="2020-03-18T16:10:28.446" v="20" actId="255"/>
          <ac:graphicFrameMkLst>
            <pc:docMk/>
            <pc:sldMk cId="2202610295" sldId="635"/>
            <ac:graphicFrameMk id="5" creationId="{85FCFEA5-76C0-481C-AAC4-2ED55A37454B}"/>
          </ac:graphicFrameMkLst>
        </pc:graphicFrameChg>
      </pc:sldChg>
    </pc:docChg>
  </pc:docChgLst>
  <pc:docChgLst>
    <pc:chgData name="Daniel Valero" userId="31dd2ff7-9a08-462f-9096-6c487a317220" providerId="ADAL" clId="{1BBB825C-11F3-4BCB-BAF1-7F11B5FD6B74}"/>
    <pc:docChg chg="modSld">
      <pc:chgData name="Daniel Valero" userId="31dd2ff7-9a08-462f-9096-6c487a317220" providerId="ADAL" clId="{1BBB825C-11F3-4BCB-BAF1-7F11B5FD6B74}" dt="2020-03-03T04:01:27.328" v="51" actId="6549"/>
      <pc:docMkLst>
        <pc:docMk/>
      </pc:docMkLst>
      <pc:sldChg chg="modSp mod modNotesTx">
        <pc:chgData name="Daniel Valero" userId="31dd2ff7-9a08-462f-9096-6c487a317220" providerId="ADAL" clId="{1BBB825C-11F3-4BCB-BAF1-7F11B5FD6B74}" dt="2020-03-03T04:01:27.328" v="51" actId="6549"/>
        <pc:sldMkLst>
          <pc:docMk/>
          <pc:sldMk cId="3006523152" sldId="581"/>
        </pc:sldMkLst>
        <pc:spChg chg="mod">
          <ac:chgData name="Daniel Valero" userId="31dd2ff7-9a08-462f-9096-6c487a317220" providerId="ADAL" clId="{1BBB825C-11F3-4BCB-BAF1-7F11B5FD6B74}" dt="2020-03-03T04:01:27.328" v="51" actId="6549"/>
          <ac:spMkLst>
            <pc:docMk/>
            <pc:sldMk cId="3006523152" sldId="581"/>
            <ac:spMk id="6" creationId="{637E159C-9ACF-48AE-927A-D5FB13695C7F}"/>
          </ac:spMkLst>
        </pc:spChg>
      </pc:sldChg>
    </pc:docChg>
  </pc:docChgLst>
  <pc:docChgLst>
    <pc:chgData name="Batuhan Yildiz" userId="90f344fc-4655-4923-aeaf-697bba59c1a7" providerId="ADAL" clId="{7699803F-5110-4C13-8284-EFC364418B72}"/>
    <pc:docChg chg="addSld delSld modSld delSection modSection">
      <pc:chgData name="Batuhan Yildiz" userId="90f344fc-4655-4923-aeaf-697bba59c1a7" providerId="ADAL" clId="{7699803F-5110-4C13-8284-EFC364418B72}" dt="2020-02-06T02:41:25.153" v="36" actId="20577"/>
      <pc:docMkLst>
        <pc:docMk/>
      </pc:docMkLst>
      <pc:sldChg chg="modSp mod">
        <pc:chgData name="Batuhan Yildiz" userId="90f344fc-4655-4923-aeaf-697bba59c1a7" providerId="ADAL" clId="{7699803F-5110-4C13-8284-EFC364418B72}" dt="2020-02-05T03:14:51.503" v="2"/>
        <pc:sldMkLst>
          <pc:docMk/>
          <pc:sldMk cId="1196121053" sldId="260"/>
        </pc:sldMkLst>
        <pc:spChg chg="mod">
          <ac:chgData name="Batuhan Yildiz" userId="90f344fc-4655-4923-aeaf-697bba59c1a7" providerId="ADAL" clId="{7699803F-5110-4C13-8284-EFC364418B72}" dt="2020-02-05T03:14:51.503" v="2"/>
          <ac:spMkLst>
            <pc:docMk/>
            <pc:sldMk cId="1196121053" sldId="260"/>
            <ac:spMk id="4" creationId="{5D85DF47-300F-4085-B774-DDE734B96F99}"/>
          </ac:spMkLst>
        </pc:spChg>
        <pc:spChg chg="mod">
          <ac:chgData name="Batuhan Yildiz" userId="90f344fc-4655-4923-aeaf-697bba59c1a7" providerId="ADAL" clId="{7699803F-5110-4C13-8284-EFC364418B72}" dt="2020-02-05T03:14:42.665" v="1" actId="20577"/>
          <ac:spMkLst>
            <pc:docMk/>
            <pc:sldMk cId="1196121053" sldId="260"/>
            <ac:spMk id="5" creationId="{806AE5AE-CAF0-4BF4-872E-C97AF8874A6F}"/>
          </ac:spMkLst>
        </pc:spChg>
      </pc:sldChg>
      <pc:sldChg chg="modSp">
        <pc:chgData name="Batuhan Yildiz" userId="90f344fc-4655-4923-aeaf-697bba59c1a7" providerId="ADAL" clId="{7699803F-5110-4C13-8284-EFC364418B72}" dt="2020-02-05T03:15:20.804" v="4"/>
        <pc:sldMkLst>
          <pc:docMk/>
          <pc:sldMk cId="4083746080" sldId="561"/>
        </pc:sldMkLst>
        <pc:spChg chg="mod">
          <ac:chgData name="Batuhan Yildiz" userId="90f344fc-4655-4923-aeaf-697bba59c1a7" providerId="ADAL" clId="{7699803F-5110-4C13-8284-EFC364418B72}" dt="2020-02-05T03:15:20.804" v="4"/>
          <ac:spMkLst>
            <pc:docMk/>
            <pc:sldMk cId="4083746080" sldId="561"/>
            <ac:spMk id="2" creationId="{74CD77A6-E28D-4D8D-9FE5-64ADAA827AC9}"/>
          </ac:spMkLst>
        </pc:spChg>
      </pc:sldChg>
      <pc:sldChg chg="modSp mod">
        <pc:chgData name="Batuhan Yildiz" userId="90f344fc-4655-4923-aeaf-697bba59c1a7" providerId="ADAL" clId="{7699803F-5110-4C13-8284-EFC364418B72}" dt="2020-02-06T02:41:25.153" v="36" actId="20577"/>
        <pc:sldMkLst>
          <pc:docMk/>
          <pc:sldMk cId="1615560134" sldId="562"/>
        </pc:sldMkLst>
        <pc:spChg chg="mod">
          <ac:chgData name="Batuhan Yildiz" userId="90f344fc-4655-4923-aeaf-697bba59c1a7" providerId="ADAL" clId="{7699803F-5110-4C13-8284-EFC364418B72}" dt="2020-02-06T02:41:25.153" v="36" actId="20577"/>
          <ac:spMkLst>
            <pc:docMk/>
            <pc:sldMk cId="1615560134" sldId="562"/>
            <ac:spMk id="3" creationId="{859B2BAE-A383-4E74-B3CF-9AC64DA11727}"/>
          </ac:spMkLst>
        </pc:spChg>
      </pc:sldChg>
      <pc:sldChg chg="modSp">
        <pc:chgData name="Batuhan Yildiz" userId="90f344fc-4655-4923-aeaf-697bba59c1a7" providerId="ADAL" clId="{7699803F-5110-4C13-8284-EFC364418B72}" dt="2020-02-05T03:15:35.512" v="5"/>
        <pc:sldMkLst>
          <pc:docMk/>
          <pc:sldMk cId="289400407" sldId="564"/>
        </pc:sldMkLst>
        <pc:spChg chg="mod">
          <ac:chgData name="Batuhan Yildiz" userId="90f344fc-4655-4923-aeaf-697bba59c1a7" providerId="ADAL" clId="{7699803F-5110-4C13-8284-EFC364418B72}" dt="2020-02-05T03:15:35.512" v="5"/>
          <ac:spMkLst>
            <pc:docMk/>
            <pc:sldMk cId="289400407" sldId="564"/>
            <ac:spMk id="2" creationId="{74CD77A6-E28D-4D8D-9FE5-64ADAA827AC9}"/>
          </ac:spMkLst>
        </pc:spChg>
      </pc:sldChg>
      <pc:sldChg chg="modSp">
        <pc:chgData name="Batuhan Yildiz" userId="90f344fc-4655-4923-aeaf-697bba59c1a7" providerId="ADAL" clId="{7699803F-5110-4C13-8284-EFC364418B72}" dt="2020-02-05T03:15:49.649" v="6"/>
        <pc:sldMkLst>
          <pc:docMk/>
          <pc:sldMk cId="57495843" sldId="571"/>
        </pc:sldMkLst>
        <pc:spChg chg="mod">
          <ac:chgData name="Batuhan Yildiz" userId="90f344fc-4655-4923-aeaf-697bba59c1a7" providerId="ADAL" clId="{7699803F-5110-4C13-8284-EFC364418B72}" dt="2020-02-05T03:15:49.649" v="6"/>
          <ac:spMkLst>
            <pc:docMk/>
            <pc:sldMk cId="57495843" sldId="571"/>
            <ac:spMk id="2" creationId="{74CD77A6-E28D-4D8D-9FE5-64ADAA827AC9}"/>
          </ac:spMkLst>
        </pc:spChg>
      </pc:sldChg>
      <pc:sldChg chg="modSp mod">
        <pc:chgData name="Batuhan Yildiz" userId="90f344fc-4655-4923-aeaf-697bba59c1a7" providerId="ADAL" clId="{7699803F-5110-4C13-8284-EFC364418B72}" dt="2020-02-06T02:41:11.900" v="30" actId="20577"/>
        <pc:sldMkLst>
          <pc:docMk/>
          <pc:sldMk cId="1611742758" sldId="578"/>
        </pc:sldMkLst>
        <pc:spChg chg="mod">
          <ac:chgData name="Batuhan Yildiz" userId="90f344fc-4655-4923-aeaf-697bba59c1a7" providerId="ADAL" clId="{7699803F-5110-4C13-8284-EFC364418B72}" dt="2020-02-06T02:41:11.900" v="30" actId="20577"/>
          <ac:spMkLst>
            <pc:docMk/>
            <pc:sldMk cId="1611742758" sldId="578"/>
            <ac:spMk id="2" creationId="{74CD77A6-E28D-4D8D-9FE5-64ADAA827AC9}"/>
          </ac:spMkLst>
        </pc:spChg>
      </pc:sldChg>
      <pc:sldChg chg="modSp del">
        <pc:chgData name="Batuhan Yildiz" userId="90f344fc-4655-4923-aeaf-697bba59c1a7" providerId="ADAL" clId="{7699803F-5110-4C13-8284-EFC364418B72}" dt="2020-02-06T02:40:30.073" v="23" actId="47"/>
        <pc:sldMkLst>
          <pc:docMk/>
          <pc:sldMk cId="3265042349" sldId="585"/>
        </pc:sldMkLst>
        <pc:spChg chg="mod">
          <ac:chgData name="Batuhan Yildiz" userId="90f344fc-4655-4923-aeaf-697bba59c1a7" providerId="ADAL" clId="{7699803F-5110-4C13-8284-EFC364418B72}" dt="2020-02-05T03:16:29.298" v="11"/>
          <ac:spMkLst>
            <pc:docMk/>
            <pc:sldMk cId="3265042349" sldId="585"/>
            <ac:spMk id="2" creationId="{74CD77A6-E28D-4D8D-9FE5-64ADAA827AC9}"/>
          </ac:spMkLst>
        </pc:spChg>
      </pc:sldChg>
      <pc:sldChg chg="del">
        <pc:chgData name="Batuhan Yildiz" userId="90f344fc-4655-4923-aeaf-697bba59c1a7" providerId="ADAL" clId="{7699803F-5110-4C13-8284-EFC364418B72}" dt="2020-02-06T02:40:30.073" v="23" actId="47"/>
        <pc:sldMkLst>
          <pc:docMk/>
          <pc:sldMk cId="3258136525" sldId="586"/>
        </pc:sldMkLst>
      </pc:sldChg>
      <pc:sldChg chg="del">
        <pc:chgData name="Batuhan Yildiz" userId="90f344fc-4655-4923-aeaf-697bba59c1a7" providerId="ADAL" clId="{7699803F-5110-4C13-8284-EFC364418B72}" dt="2020-02-06T02:40:30.073" v="23" actId="47"/>
        <pc:sldMkLst>
          <pc:docMk/>
          <pc:sldMk cId="1635185343" sldId="587"/>
        </pc:sldMkLst>
      </pc:sldChg>
      <pc:sldChg chg="del">
        <pc:chgData name="Batuhan Yildiz" userId="90f344fc-4655-4923-aeaf-697bba59c1a7" providerId="ADAL" clId="{7699803F-5110-4C13-8284-EFC364418B72}" dt="2020-02-06T02:40:30.073" v="23" actId="47"/>
        <pc:sldMkLst>
          <pc:docMk/>
          <pc:sldMk cId="1564438252" sldId="588"/>
        </pc:sldMkLst>
      </pc:sldChg>
      <pc:sldChg chg="del">
        <pc:chgData name="Batuhan Yildiz" userId="90f344fc-4655-4923-aeaf-697bba59c1a7" providerId="ADAL" clId="{7699803F-5110-4C13-8284-EFC364418B72}" dt="2020-02-06T02:40:30.073" v="23" actId="47"/>
        <pc:sldMkLst>
          <pc:docMk/>
          <pc:sldMk cId="2725246263" sldId="589"/>
        </pc:sldMkLst>
      </pc:sldChg>
      <pc:sldChg chg="del">
        <pc:chgData name="Batuhan Yildiz" userId="90f344fc-4655-4923-aeaf-697bba59c1a7" providerId="ADAL" clId="{7699803F-5110-4C13-8284-EFC364418B72}" dt="2020-02-06T02:40:30.073" v="23" actId="47"/>
        <pc:sldMkLst>
          <pc:docMk/>
          <pc:sldMk cId="1844966639" sldId="590"/>
        </pc:sldMkLst>
      </pc:sldChg>
      <pc:sldChg chg="del">
        <pc:chgData name="Batuhan Yildiz" userId="90f344fc-4655-4923-aeaf-697bba59c1a7" providerId="ADAL" clId="{7699803F-5110-4C13-8284-EFC364418B72}" dt="2020-02-06T02:40:30.073" v="23" actId="47"/>
        <pc:sldMkLst>
          <pc:docMk/>
          <pc:sldMk cId="1737290916" sldId="591"/>
        </pc:sldMkLst>
      </pc:sldChg>
      <pc:sldChg chg="del">
        <pc:chgData name="Batuhan Yildiz" userId="90f344fc-4655-4923-aeaf-697bba59c1a7" providerId="ADAL" clId="{7699803F-5110-4C13-8284-EFC364418B72}" dt="2020-02-05T03:16:38.867" v="12" actId="47"/>
        <pc:sldMkLst>
          <pc:docMk/>
          <pc:sldMk cId="1945948018" sldId="592"/>
        </pc:sldMkLst>
      </pc:sldChg>
      <pc:sldChg chg="add">
        <pc:chgData name="Batuhan Yildiz" userId="90f344fc-4655-4923-aeaf-697bba59c1a7" providerId="ADAL" clId="{7699803F-5110-4C13-8284-EFC364418B72}" dt="2020-02-06T02:39:33.779" v="19"/>
        <pc:sldMkLst>
          <pc:docMk/>
          <pc:sldMk cId="3372985199" sldId="592"/>
        </pc:sldMkLst>
      </pc:sldChg>
      <pc:sldChg chg="del">
        <pc:chgData name="Batuhan Yildiz" userId="90f344fc-4655-4923-aeaf-697bba59c1a7" providerId="ADAL" clId="{7699803F-5110-4C13-8284-EFC364418B72}" dt="2020-02-05T03:16:38.867" v="12" actId="47"/>
        <pc:sldMkLst>
          <pc:docMk/>
          <pc:sldMk cId="1849063011" sldId="593"/>
        </pc:sldMkLst>
      </pc:sldChg>
      <pc:sldChg chg="add">
        <pc:chgData name="Batuhan Yildiz" userId="90f344fc-4655-4923-aeaf-697bba59c1a7" providerId="ADAL" clId="{7699803F-5110-4C13-8284-EFC364418B72}" dt="2020-02-06T02:39:40.258" v="20"/>
        <pc:sldMkLst>
          <pc:docMk/>
          <pc:sldMk cId="3536691941" sldId="593"/>
        </pc:sldMkLst>
      </pc:sldChg>
      <pc:sldChg chg="del">
        <pc:chgData name="Batuhan Yildiz" userId="90f344fc-4655-4923-aeaf-697bba59c1a7" providerId="ADAL" clId="{7699803F-5110-4C13-8284-EFC364418B72}" dt="2020-02-05T03:16:38.867" v="12" actId="47"/>
        <pc:sldMkLst>
          <pc:docMk/>
          <pc:sldMk cId="512892420" sldId="594"/>
        </pc:sldMkLst>
      </pc:sldChg>
      <pc:sldChg chg="add">
        <pc:chgData name="Batuhan Yildiz" userId="90f344fc-4655-4923-aeaf-697bba59c1a7" providerId="ADAL" clId="{7699803F-5110-4C13-8284-EFC364418B72}" dt="2020-02-06T02:39:47.481" v="21"/>
        <pc:sldMkLst>
          <pc:docMk/>
          <pc:sldMk cId="649839447" sldId="594"/>
        </pc:sldMkLst>
      </pc:sldChg>
      <pc:sldChg chg="del">
        <pc:chgData name="Batuhan Yildiz" userId="90f344fc-4655-4923-aeaf-697bba59c1a7" providerId="ADAL" clId="{7699803F-5110-4C13-8284-EFC364418B72}" dt="2020-02-05T03:16:38.867" v="12" actId="47"/>
        <pc:sldMkLst>
          <pc:docMk/>
          <pc:sldMk cId="1064848225" sldId="595"/>
        </pc:sldMkLst>
      </pc:sldChg>
      <pc:sldChg chg="add">
        <pc:chgData name="Batuhan Yildiz" userId="90f344fc-4655-4923-aeaf-697bba59c1a7" providerId="ADAL" clId="{7699803F-5110-4C13-8284-EFC364418B72}" dt="2020-02-06T02:39:54.624" v="22"/>
        <pc:sldMkLst>
          <pc:docMk/>
          <pc:sldMk cId="2776287314" sldId="595"/>
        </pc:sldMkLst>
      </pc:sldChg>
      <pc:sldChg chg="del">
        <pc:chgData name="Batuhan Yildiz" userId="90f344fc-4655-4923-aeaf-697bba59c1a7" providerId="ADAL" clId="{7699803F-5110-4C13-8284-EFC364418B72}" dt="2020-02-05T03:16:38.867" v="12" actId="47"/>
        <pc:sldMkLst>
          <pc:docMk/>
          <pc:sldMk cId="1274964080" sldId="596"/>
        </pc:sldMkLst>
      </pc:sldChg>
      <pc:sldChg chg="del">
        <pc:chgData name="Batuhan Yildiz" userId="90f344fc-4655-4923-aeaf-697bba59c1a7" providerId="ADAL" clId="{7699803F-5110-4C13-8284-EFC364418B72}" dt="2020-02-05T03:16:38.867" v="12" actId="47"/>
        <pc:sldMkLst>
          <pc:docMk/>
          <pc:sldMk cId="4224256510" sldId="597"/>
        </pc:sldMkLst>
      </pc:sldChg>
      <pc:sldChg chg="del">
        <pc:chgData name="Batuhan Yildiz" userId="90f344fc-4655-4923-aeaf-697bba59c1a7" providerId="ADAL" clId="{7699803F-5110-4C13-8284-EFC364418B72}" dt="2020-02-05T03:16:38.867" v="12" actId="47"/>
        <pc:sldMkLst>
          <pc:docMk/>
          <pc:sldMk cId="1731718220" sldId="598"/>
        </pc:sldMkLst>
      </pc:sldChg>
      <pc:sldChg chg="del">
        <pc:chgData name="Batuhan Yildiz" userId="90f344fc-4655-4923-aeaf-697bba59c1a7" providerId="ADAL" clId="{7699803F-5110-4C13-8284-EFC364418B72}" dt="2020-02-05T03:16:38.867" v="12" actId="47"/>
        <pc:sldMkLst>
          <pc:docMk/>
          <pc:sldMk cId="809679049" sldId="599"/>
        </pc:sldMkLst>
      </pc:sldChg>
      <pc:sldChg chg="del">
        <pc:chgData name="Batuhan Yildiz" userId="90f344fc-4655-4923-aeaf-697bba59c1a7" providerId="ADAL" clId="{7699803F-5110-4C13-8284-EFC364418B72}" dt="2020-02-05T03:16:38.867" v="12" actId="47"/>
        <pc:sldMkLst>
          <pc:docMk/>
          <pc:sldMk cId="247321886" sldId="600"/>
        </pc:sldMkLst>
      </pc:sldChg>
      <pc:sldChg chg="del">
        <pc:chgData name="Batuhan Yildiz" userId="90f344fc-4655-4923-aeaf-697bba59c1a7" providerId="ADAL" clId="{7699803F-5110-4C13-8284-EFC364418B72}" dt="2020-02-05T03:16:38.867" v="12" actId="47"/>
        <pc:sldMkLst>
          <pc:docMk/>
          <pc:sldMk cId="3908502129" sldId="601"/>
        </pc:sldMkLst>
      </pc:sldChg>
      <pc:sldChg chg="del">
        <pc:chgData name="Batuhan Yildiz" userId="90f344fc-4655-4923-aeaf-697bba59c1a7" providerId="ADAL" clId="{7699803F-5110-4C13-8284-EFC364418B72}" dt="2020-02-05T03:16:38.867" v="12" actId="47"/>
        <pc:sldMkLst>
          <pc:docMk/>
          <pc:sldMk cId="1466982777" sldId="602"/>
        </pc:sldMkLst>
      </pc:sldChg>
      <pc:sldChg chg="del">
        <pc:chgData name="Batuhan Yildiz" userId="90f344fc-4655-4923-aeaf-697bba59c1a7" providerId="ADAL" clId="{7699803F-5110-4C13-8284-EFC364418B72}" dt="2020-02-05T03:16:38.867" v="12" actId="47"/>
        <pc:sldMkLst>
          <pc:docMk/>
          <pc:sldMk cId="3803232285" sldId="603"/>
        </pc:sldMkLst>
      </pc:sldChg>
      <pc:sldChg chg="del">
        <pc:chgData name="Batuhan Yildiz" userId="90f344fc-4655-4923-aeaf-697bba59c1a7" providerId="ADAL" clId="{7699803F-5110-4C13-8284-EFC364418B72}" dt="2020-02-05T03:16:38.867" v="12" actId="47"/>
        <pc:sldMkLst>
          <pc:docMk/>
          <pc:sldMk cId="1430644532" sldId="604"/>
        </pc:sldMkLst>
      </pc:sldChg>
      <pc:sldChg chg="del">
        <pc:chgData name="Batuhan Yildiz" userId="90f344fc-4655-4923-aeaf-697bba59c1a7" providerId="ADAL" clId="{7699803F-5110-4C13-8284-EFC364418B72}" dt="2020-02-05T03:16:38.867" v="12" actId="47"/>
        <pc:sldMkLst>
          <pc:docMk/>
          <pc:sldMk cId="2889285480" sldId="605"/>
        </pc:sldMkLst>
      </pc:sldChg>
      <pc:sldChg chg="del">
        <pc:chgData name="Batuhan Yildiz" userId="90f344fc-4655-4923-aeaf-697bba59c1a7" providerId="ADAL" clId="{7699803F-5110-4C13-8284-EFC364418B72}" dt="2020-02-05T03:16:38.867" v="12" actId="47"/>
        <pc:sldMkLst>
          <pc:docMk/>
          <pc:sldMk cId="2219648348" sldId="606"/>
        </pc:sldMkLst>
      </pc:sldChg>
      <pc:sldChg chg="del">
        <pc:chgData name="Batuhan Yildiz" userId="90f344fc-4655-4923-aeaf-697bba59c1a7" providerId="ADAL" clId="{7699803F-5110-4C13-8284-EFC364418B72}" dt="2020-02-05T03:16:38.867" v="12" actId="47"/>
        <pc:sldMkLst>
          <pc:docMk/>
          <pc:sldMk cId="965929785" sldId="607"/>
        </pc:sldMkLst>
      </pc:sldChg>
      <pc:sldChg chg="del">
        <pc:chgData name="Batuhan Yildiz" userId="90f344fc-4655-4923-aeaf-697bba59c1a7" providerId="ADAL" clId="{7699803F-5110-4C13-8284-EFC364418B72}" dt="2020-02-05T03:16:38.867" v="12" actId="47"/>
        <pc:sldMkLst>
          <pc:docMk/>
          <pc:sldMk cId="57508058" sldId="608"/>
        </pc:sldMkLst>
      </pc:sldChg>
      <pc:sldChg chg="del">
        <pc:chgData name="Batuhan Yildiz" userId="90f344fc-4655-4923-aeaf-697bba59c1a7" providerId="ADAL" clId="{7699803F-5110-4C13-8284-EFC364418B72}" dt="2020-02-05T03:16:38.867" v="12" actId="47"/>
        <pc:sldMkLst>
          <pc:docMk/>
          <pc:sldMk cId="3995482144" sldId="609"/>
        </pc:sldMkLst>
      </pc:sldChg>
      <pc:sldChg chg="del">
        <pc:chgData name="Batuhan Yildiz" userId="90f344fc-4655-4923-aeaf-697bba59c1a7" providerId="ADAL" clId="{7699803F-5110-4C13-8284-EFC364418B72}" dt="2020-02-05T03:16:38.867" v="12" actId="47"/>
        <pc:sldMkLst>
          <pc:docMk/>
          <pc:sldMk cId="747863857" sldId="610"/>
        </pc:sldMkLst>
      </pc:sldChg>
      <pc:sldChg chg="del">
        <pc:chgData name="Batuhan Yildiz" userId="90f344fc-4655-4923-aeaf-697bba59c1a7" providerId="ADAL" clId="{7699803F-5110-4C13-8284-EFC364418B72}" dt="2020-02-05T03:16:38.867" v="12" actId="47"/>
        <pc:sldMkLst>
          <pc:docMk/>
          <pc:sldMk cId="4045060224" sldId="611"/>
        </pc:sldMkLst>
      </pc:sldChg>
      <pc:sldChg chg="del">
        <pc:chgData name="Batuhan Yildiz" userId="90f344fc-4655-4923-aeaf-697bba59c1a7" providerId="ADAL" clId="{7699803F-5110-4C13-8284-EFC364418B72}" dt="2020-02-05T03:16:38.867" v="12" actId="47"/>
        <pc:sldMkLst>
          <pc:docMk/>
          <pc:sldMk cId="3073578741" sldId="612"/>
        </pc:sldMkLst>
      </pc:sldChg>
    </pc:docChg>
  </pc:docChgLst>
  <pc:docChgLst>
    <pc:chgData name="Daniel Valero" userId="31dd2ff7-9a08-462f-9096-6c487a317220" providerId="ADAL" clId="{8985719F-2960-467C-8373-8D4D9670E82F}"/>
    <pc:docChg chg="undo custSel addSld delSld modSld sldOrd modSection">
      <pc:chgData name="Daniel Valero" userId="31dd2ff7-9a08-462f-9096-6c487a317220" providerId="ADAL" clId="{8985719F-2960-467C-8373-8D4D9670E82F}" dt="2020-02-26T21:26:28.997" v="2436" actId="5793"/>
      <pc:docMkLst>
        <pc:docMk/>
      </pc:docMkLst>
      <pc:sldChg chg="add">
        <pc:chgData name="Daniel Valero" userId="31dd2ff7-9a08-462f-9096-6c487a317220" providerId="ADAL" clId="{8985719F-2960-467C-8373-8D4D9670E82F}" dt="2020-02-26T20:21:09.969" v="1312"/>
        <pc:sldMkLst>
          <pc:docMk/>
          <pc:sldMk cId="3763190002" sldId="302"/>
        </pc:sldMkLst>
      </pc:sldChg>
      <pc:sldChg chg="modSp mod">
        <pc:chgData name="Daniel Valero" userId="31dd2ff7-9a08-462f-9096-6c487a317220" providerId="ADAL" clId="{8985719F-2960-467C-8373-8D4D9670E82F}" dt="2020-02-26T19:27:53.992" v="233" actId="790"/>
        <pc:sldMkLst>
          <pc:docMk/>
          <pc:sldMk cId="1611742758" sldId="578"/>
        </pc:sldMkLst>
        <pc:spChg chg="mod">
          <ac:chgData name="Daniel Valero" userId="31dd2ff7-9a08-462f-9096-6c487a317220" providerId="ADAL" clId="{8985719F-2960-467C-8373-8D4D9670E82F}" dt="2020-02-26T19:27:53.992" v="233" actId="790"/>
          <ac:spMkLst>
            <pc:docMk/>
            <pc:sldMk cId="1611742758" sldId="578"/>
            <ac:spMk id="2" creationId="{74CD77A6-E28D-4D8D-9FE5-64ADAA827AC9}"/>
          </ac:spMkLst>
        </pc:spChg>
      </pc:sldChg>
      <pc:sldChg chg="del">
        <pc:chgData name="Daniel Valero" userId="31dd2ff7-9a08-462f-9096-6c487a317220" providerId="ADAL" clId="{8985719F-2960-467C-8373-8D4D9670E82F}" dt="2020-02-26T19:48:19.248" v="783" actId="47"/>
        <pc:sldMkLst>
          <pc:docMk/>
          <pc:sldMk cId="2776287314" sldId="595"/>
        </pc:sldMkLst>
      </pc:sldChg>
      <pc:sldChg chg="modNotesTx">
        <pc:chgData name="Daniel Valero" userId="31dd2ff7-9a08-462f-9096-6c487a317220" providerId="ADAL" clId="{8985719F-2960-467C-8373-8D4D9670E82F}" dt="2020-02-26T19:27:11.057" v="181" actId="20577"/>
        <pc:sldMkLst>
          <pc:docMk/>
          <pc:sldMk cId="1244209906" sldId="612"/>
        </pc:sldMkLst>
      </pc:sldChg>
      <pc:sldChg chg="del modNotesTx">
        <pc:chgData name="Daniel Valero" userId="31dd2ff7-9a08-462f-9096-6c487a317220" providerId="ADAL" clId="{8985719F-2960-467C-8373-8D4D9670E82F}" dt="2020-02-26T19:27:14.752" v="182" actId="47"/>
        <pc:sldMkLst>
          <pc:docMk/>
          <pc:sldMk cId="1785315488" sldId="614"/>
        </pc:sldMkLst>
      </pc:sldChg>
      <pc:sldChg chg="modSp mod">
        <pc:chgData name="Daniel Valero" userId="31dd2ff7-9a08-462f-9096-6c487a317220" providerId="ADAL" clId="{8985719F-2960-467C-8373-8D4D9670E82F}" dt="2020-02-26T19:28:14.776" v="237" actId="20577"/>
        <pc:sldMkLst>
          <pc:docMk/>
          <pc:sldMk cId="3804096970" sldId="615"/>
        </pc:sldMkLst>
        <pc:spChg chg="mod">
          <ac:chgData name="Daniel Valero" userId="31dd2ff7-9a08-462f-9096-6c487a317220" providerId="ADAL" clId="{8985719F-2960-467C-8373-8D4D9670E82F}" dt="2020-02-26T19:28:14.776" v="237" actId="20577"/>
          <ac:spMkLst>
            <pc:docMk/>
            <pc:sldMk cId="3804096970" sldId="615"/>
            <ac:spMk id="4" creationId="{F3616A99-090F-45E1-9334-58D58B148205}"/>
          </ac:spMkLst>
        </pc:spChg>
      </pc:sldChg>
      <pc:sldChg chg="del">
        <pc:chgData name="Daniel Valero" userId="31dd2ff7-9a08-462f-9096-6c487a317220" providerId="ADAL" clId="{8985719F-2960-467C-8373-8D4D9670E82F}" dt="2020-02-26T19:23:50.411" v="120" actId="47"/>
        <pc:sldMkLst>
          <pc:docMk/>
          <pc:sldMk cId="3292541491" sldId="616"/>
        </pc:sldMkLst>
      </pc:sldChg>
      <pc:sldChg chg="modSp mod">
        <pc:chgData name="Daniel Valero" userId="31dd2ff7-9a08-462f-9096-6c487a317220" providerId="ADAL" clId="{8985719F-2960-467C-8373-8D4D9670E82F}" dt="2020-02-26T20:17:01.752" v="1311" actId="14100"/>
        <pc:sldMkLst>
          <pc:docMk/>
          <pc:sldMk cId="2202142392" sldId="619"/>
        </pc:sldMkLst>
        <pc:picChg chg="mod">
          <ac:chgData name="Daniel Valero" userId="31dd2ff7-9a08-462f-9096-6c487a317220" providerId="ADAL" clId="{8985719F-2960-467C-8373-8D4D9670E82F}" dt="2020-02-26T20:17:01.752" v="1311" actId="14100"/>
          <ac:picMkLst>
            <pc:docMk/>
            <pc:sldMk cId="2202142392" sldId="619"/>
            <ac:picMk id="16" creationId="{A1948D66-D986-4C41-85D0-B9783B322996}"/>
          </ac:picMkLst>
        </pc:picChg>
      </pc:sldChg>
      <pc:sldChg chg="modSp mod">
        <pc:chgData name="Daniel Valero" userId="31dd2ff7-9a08-462f-9096-6c487a317220" providerId="ADAL" clId="{8985719F-2960-467C-8373-8D4D9670E82F}" dt="2020-02-26T19:16:02.675" v="11" actId="20577"/>
        <pc:sldMkLst>
          <pc:docMk/>
          <pc:sldMk cId="1030677442" sldId="621"/>
        </pc:sldMkLst>
        <pc:spChg chg="mod">
          <ac:chgData name="Daniel Valero" userId="31dd2ff7-9a08-462f-9096-6c487a317220" providerId="ADAL" clId="{8985719F-2960-467C-8373-8D4D9670E82F}" dt="2020-02-26T19:15:58.901" v="9" actId="14100"/>
          <ac:spMkLst>
            <pc:docMk/>
            <pc:sldMk cId="1030677442" sldId="621"/>
            <ac:spMk id="6" creationId="{70F92798-54C4-42CE-9509-349D1E88B39C}"/>
          </ac:spMkLst>
        </pc:spChg>
        <pc:graphicFrameChg chg="mod">
          <ac:chgData name="Daniel Valero" userId="31dd2ff7-9a08-462f-9096-6c487a317220" providerId="ADAL" clId="{8985719F-2960-467C-8373-8D4D9670E82F}" dt="2020-02-26T19:16:02.675" v="11" actId="20577"/>
          <ac:graphicFrameMkLst>
            <pc:docMk/>
            <pc:sldMk cId="1030677442" sldId="621"/>
            <ac:graphicFrameMk id="7" creationId="{8054562B-EDA4-4A5F-95DF-6B68DF7EFF40}"/>
          </ac:graphicFrameMkLst>
        </pc:graphicFrameChg>
      </pc:sldChg>
      <pc:sldChg chg="modSp del mod">
        <pc:chgData name="Daniel Valero" userId="31dd2ff7-9a08-462f-9096-6c487a317220" providerId="ADAL" clId="{8985719F-2960-467C-8373-8D4D9670E82F}" dt="2020-02-26T19:24:34.176" v="151" actId="47"/>
        <pc:sldMkLst>
          <pc:docMk/>
          <pc:sldMk cId="1217066516" sldId="625"/>
        </pc:sldMkLst>
        <pc:spChg chg="mod">
          <ac:chgData name="Daniel Valero" userId="31dd2ff7-9a08-462f-9096-6c487a317220" providerId="ADAL" clId="{8985719F-2960-467C-8373-8D4D9670E82F}" dt="2020-02-26T19:22:36.535" v="117" actId="20577"/>
          <ac:spMkLst>
            <pc:docMk/>
            <pc:sldMk cId="1217066516" sldId="625"/>
            <ac:spMk id="2" creationId="{EB67312A-9819-43C6-8D84-D9136E6CFFCC}"/>
          </ac:spMkLst>
        </pc:spChg>
      </pc:sldChg>
      <pc:sldChg chg="addSp delSp modSp mod ord modNotesTx">
        <pc:chgData name="Daniel Valero" userId="31dd2ff7-9a08-462f-9096-6c487a317220" providerId="ADAL" clId="{8985719F-2960-467C-8373-8D4D9670E82F}" dt="2020-02-26T21:05:03.235" v="2265"/>
        <pc:sldMkLst>
          <pc:docMk/>
          <pc:sldMk cId="743094843" sldId="626"/>
        </pc:sldMkLst>
        <pc:spChg chg="mod">
          <ac:chgData name="Daniel Valero" userId="31dd2ff7-9a08-462f-9096-6c487a317220" providerId="ADAL" clId="{8985719F-2960-467C-8373-8D4D9670E82F}" dt="2020-02-26T19:35:11.815" v="474" actId="790"/>
          <ac:spMkLst>
            <pc:docMk/>
            <pc:sldMk cId="743094843" sldId="626"/>
            <ac:spMk id="2" creationId="{EB67312A-9819-43C6-8D84-D9136E6CFFCC}"/>
          </ac:spMkLst>
        </pc:spChg>
        <pc:spChg chg="mod">
          <ac:chgData name="Daniel Valero" userId="31dd2ff7-9a08-462f-9096-6c487a317220" providerId="ADAL" clId="{8985719F-2960-467C-8373-8D4D9670E82F}" dt="2020-02-26T19:44:12.121" v="772" actId="20577"/>
          <ac:spMkLst>
            <pc:docMk/>
            <pc:sldMk cId="743094843" sldId="626"/>
            <ac:spMk id="3" creationId="{F35E8CBB-5A7D-4DEF-BAF7-8DD5D042F9E0}"/>
          </ac:spMkLst>
        </pc:spChg>
        <pc:spChg chg="mod">
          <ac:chgData name="Daniel Valero" userId="31dd2ff7-9a08-462f-9096-6c487a317220" providerId="ADAL" clId="{8985719F-2960-467C-8373-8D4D9670E82F}" dt="2020-02-26T19:42:43.494" v="715" actId="6549"/>
          <ac:spMkLst>
            <pc:docMk/>
            <pc:sldMk cId="743094843" sldId="626"/>
            <ac:spMk id="4" creationId="{F3616A99-090F-45E1-9334-58D58B148205}"/>
          </ac:spMkLst>
        </pc:spChg>
        <pc:spChg chg="add del">
          <ac:chgData name="Daniel Valero" userId="31dd2ff7-9a08-462f-9096-6c487a317220" providerId="ADAL" clId="{8985719F-2960-467C-8373-8D4D9670E82F}" dt="2020-02-26T19:36:18.513" v="482"/>
          <ac:spMkLst>
            <pc:docMk/>
            <pc:sldMk cId="743094843" sldId="626"/>
            <ac:spMk id="5" creationId="{D9A0A5E9-FC71-407D-AE98-6E618EEAFFD8}"/>
          </ac:spMkLst>
        </pc:spChg>
        <pc:graphicFrameChg chg="add mod modGraphic">
          <ac:chgData name="Daniel Valero" userId="31dd2ff7-9a08-462f-9096-6c487a317220" providerId="ADAL" clId="{8985719F-2960-467C-8373-8D4D9670E82F}" dt="2020-02-26T19:45:16.163" v="774" actId="20577"/>
          <ac:graphicFrameMkLst>
            <pc:docMk/>
            <pc:sldMk cId="743094843" sldId="626"/>
            <ac:graphicFrameMk id="6" creationId="{111D002A-A0A4-4541-915F-22B1D3A7AB07}"/>
          </ac:graphicFrameMkLst>
        </pc:graphicFrameChg>
      </pc:sldChg>
      <pc:sldChg chg="modSp mod ord">
        <pc:chgData name="Daniel Valero" userId="31dd2ff7-9a08-462f-9096-6c487a317220" providerId="ADAL" clId="{8985719F-2960-467C-8373-8D4D9670E82F}" dt="2020-02-26T21:26:28.997" v="2436" actId="5793"/>
        <pc:sldMkLst>
          <pc:docMk/>
          <pc:sldMk cId="2024360696" sldId="627"/>
        </pc:sldMkLst>
        <pc:spChg chg="mod">
          <ac:chgData name="Daniel Valero" userId="31dd2ff7-9a08-462f-9096-6c487a317220" providerId="ADAL" clId="{8985719F-2960-467C-8373-8D4D9670E82F}" dt="2020-02-26T21:25:51.362" v="2428" actId="20577"/>
          <ac:spMkLst>
            <pc:docMk/>
            <pc:sldMk cId="2024360696" sldId="627"/>
            <ac:spMk id="3" creationId="{F35E8CBB-5A7D-4DEF-BAF7-8DD5D042F9E0}"/>
          </ac:spMkLst>
        </pc:spChg>
        <pc:spChg chg="mod">
          <ac:chgData name="Daniel Valero" userId="31dd2ff7-9a08-462f-9096-6c487a317220" providerId="ADAL" clId="{8985719F-2960-467C-8373-8D4D9670E82F}" dt="2020-02-26T21:26:28.997" v="2436" actId="5793"/>
          <ac:spMkLst>
            <pc:docMk/>
            <pc:sldMk cId="2024360696" sldId="627"/>
            <ac:spMk id="4" creationId="{F3616A99-090F-45E1-9334-58D58B148205}"/>
          </ac:spMkLst>
        </pc:spChg>
      </pc:sldChg>
      <pc:sldChg chg="addSp delSp modSp mod ord modNotesTx">
        <pc:chgData name="Daniel Valero" userId="31dd2ff7-9a08-462f-9096-6c487a317220" providerId="ADAL" clId="{8985719F-2960-467C-8373-8D4D9670E82F}" dt="2020-02-26T20:31:06.067" v="1539" actId="6549"/>
        <pc:sldMkLst>
          <pc:docMk/>
          <pc:sldMk cId="3785445527" sldId="628"/>
        </pc:sldMkLst>
        <pc:spChg chg="mod">
          <ac:chgData name="Daniel Valero" userId="31dd2ff7-9a08-462f-9096-6c487a317220" providerId="ADAL" clId="{8985719F-2960-467C-8373-8D4D9670E82F}" dt="2020-02-26T19:53:17.750" v="854" actId="790"/>
          <ac:spMkLst>
            <pc:docMk/>
            <pc:sldMk cId="3785445527" sldId="628"/>
            <ac:spMk id="2" creationId="{EB67312A-9819-43C6-8D84-D9136E6CFFCC}"/>
          </ac:spMkLst>
        </pc:spChg>
        <pc:spChg chg="mod">
          <ac:chgData name="Daniel Valero" userId="31dd2ff7-9a08-462f-9096-6c487a317220" providerId="ADAL" clId="{8985719F-2960-467C-8373-8D4D9670E82F}" dt="2020-02-26T19:53:17.750" v="854" actId="790"/>
          <ac:spMkLst>
            <pc:docMk/>
            <pc:sldMk cId="3785445527" sldId="628"/>
            <ac:spMk id="3" creationId="{F35E8CBB-5A7D-4DEF-BAF7-8DD5D042F9E0}"/>
          </ac:spMkLst>
        </pc:spChg>
        <pc:spChg chg="del mod">
          <ac:chgData name="Daniel Valero" userId="31dd2ff7-9a08-462f-9096-6c487a317220" providerId="ADAL" clId="{8985719F-2960-467C-8373-8D4D9670E82F}" dt="2020-02-26T19:51:25.353" v="841" actId="478"/>
          <ac:spMkLst>
            <pc:docMk/>
            <pc:sldMk cId="3785445527" sldId="628"/>
            <ac:spMk id="4" creationId="{F3616A99-090F-45E1-9334-58D58B148205}"/>
          </ac:spMkLst>
        </pc:spChg>
        <pc:spChg chg="add mod">
          <ac:chgData name="Daniel Valero" userId="31dd2ff7-9a08-462f-9096-6c487a317220" providerId="ADAL" clId="{8985719F-2960-467C-8373-8D4D9670E82F}" dt="2020-02-26T19:56:15.652" v="941" actId="1035"/>
          <ac:spMkLst>
            <pc:docMk/>
            <pc:sldMk cId="3785445527" sldId="628"/>
            <ac:spMk id="7" creationId="{326F01E2-D219-47E5-8E71-6E52740FD52A}"/>
          </ac:spMkLst>
        </pc:spChg>
        <pc:spChg chg="add mod">
          <ac:chgData name="Daniel Valero" userId="31dd2ff7-9a08-462f-9096-6c487a317220" providerId="ADAL" clId="{8985719F-2960-467C-8373-8D4D9670E82F}" dt="2020-02-26T19:56:15.652" v="941" actId="1035"/>
          <ac:spMkLst>
            <pc:docMk/>
            <pc:sldMk cId="3785445527" sldId="628"/>
            <ac:spMk id="9" creationId="{6D0EC966-8547-4FC8-BE1C-F539D042BCA3}"/>
          </ac:spMkLst>
        </pc:spChg>
        <pc:spChg chg="add mod">
          <ac:chgData name="Daniel Valero" userId="31dd2ff7-9a08-462f-9096-6c487a317220" providerId="ADAL" clId="{8985719F-2960-467C-8373-8D4D9670E82F}" dt="2020-02-26T19:53:17.750" v="854" actId="790"/>
          <ac:spMkLst>
            <pc:docMk/>
            <pc:sldMk cId="3785445527" sldId="628"/>
            <ac:spMk id="10" creationId="{62B687EA-EE62-4DCF-A5CC-1FC6F7BAAFFA}"/>
          </ac:spMkLst>
        </pc:spChg>
        <pc:spChg chg="add mod">
          <ac:chgData name="Daniel Valero" userId="31dd2ff7-9a08-462f-9096-6c487a317220" providerId="ADAL" clId="{8985719F-2960-467C-8373-8D4D9670E82F}" dt="2020-02-26T19:56:32.306" v="943" actId="1076"/>
          <ac:spMkLst>
            <pc:docMk/>
            <pc:sldMk cId="3785445527" sldId="628"/>
            <ac:spMk id="11" creationId="{F05FD029-2617-4745-9B9D-7A3AAFB450D0}"/>
          </ac:spMkLst>
        </pc:spChg>
        <pc:spChg chg="add mod">
          <ac:chgData name="Daniel Valero" userId="31dd2ff7-9a08-462f-9096-6c487a317220" providerId="ADAL" clId="{8985719F-2960-467C-8373-8D4D9670E82F}" dt="2020-02-26T19:53:17.750" v="854" actId="790"/>
          <ac:spMkLst>
            <pc:docMk/>
            <pc:sldMk cId="3785445527" sldId="628"/>
            <ac:spMk id="12" creationId="{05C9BD16-7380-4DFE-B836-0ED0B85D75F9}"/>
          </ac:spMkLst>
        </pc:spChg>
        <pc:spChg chg="add mod">
          <ac:chgData name="Daniel Valero" userId="31dd2ff7-9a08-462f-9096-6c487a317220" providerId="ADAL" clId="{8985719F-2960-467C-8373-8D4D9670E82F}" dt="2020-02-26T19:53:17.750" v="854" actId="790"/>
          <ac:spMkLst>
            <pc:docMk/>
            <pc:sldMk cId="3785445527" sldId="628"/>
            <ac:spMk id="13" creationId="{3EE0F69A-FCDA-455B-8CA4-D972CAA26674}"/>
          </ac:spMkLst>
        </pc:spChg>
        <pc:spChg chg="add mod">
          <ac:chgData name="Daniel Valero" userId="31dd2ff7-9a08-462f-9096-6c487a317220" providerId="ADAL" clId="{8985719F-2960-467C-8373-8D4D9670E82F}" dt="2020-02-26T19:53:17.750" v="854" actId="790"/>
          <ac:spMkLst>
            <pc:docMk/>
            <pc:sldMk cId="3785445527" sldId="628"/>
            <ac:spMk id="14" creationId="{F79EA48F-051F-4E7D-B093-5F52F6125788}"/>
          </ac:spMkLst>
        </pc:spChg>
        <pc:spChg chg="add mod">
          <ac:chgData name="Daniel Valero" userId="31dd2ff7-9a08-462f-9096-6c487a317220" providerId="ADAL" clId="{8985719F-2960-467C-8373-8D4D9670E82F}" dt="2020-02-26T20:31:06.067" v="1539" actId="6549"/>
          <ac:spMkLst>
            <pc:docMk/>
            <pc:sldMk cId="3785445527" sldId="628"/>
            <ac:spMk id="15" creationId="{BBDC2EA3-99C8-4CC9-8680-B00FB7E619E8}"/>
          </ac:spMkLst>
        </pc:spChg>
        <pc:picChg chg="add mod">
          <ac:chgData name="Daniel Valero" userId="31dd2ff7-9a08-462f-9096-6c487a317220" providerId="ADAL" clId="{8985719F-2960-467C-8373-8D4D9670E82F}" dt="2020-02-26T19:56:20.170" v="942" actId="554"/>
          <ac:picMkLst>
            <pc:docMk/>
            <pc:sldMk cId="3785445527" sldId="628"/>
            <ac:picMk id="5" creationId="{EC201D3E-B7B4-40D4-834E-9E2CDC7007B6}"/>
          </ac:picMkLst>
        </pc:picChg>
        <pc:picChg chg="add mod">
          <ac:chgData name="Daniel Valero" userId="31dd2ff7-9a08-462f-9096-6c487a317220" providerId="ADAL" clId="{8985719F-2960-467C-8373-8D4D9670E82F}" dt="2020-02-26T19:56:20.170" v="942" actId="554"/>
          <ac:picMkLst>
            <pc:docMk/>
            <pc:sldMk cId="3785445527" sldId="628"/>
            <ac:picMk id="6" creationId="{301CF1D3-1D9A-49B1-9A5E-5C6BE5582F16}"/>
          </ac:picMkLst>
        </pc:picChg>
        <pc:picChg chg="add mod">
          <ac:chgData name="Daniel Valero" userId="31dd2ff7-9a08-462f-9096-6c487a317220" providerId="ADAL" clId="{8985719F-2960-467C-8373-8D4D9670E82F}" dt="2020-02-26T19:56:32.306" v="943" actId="1076"/>
          <ac:picMkLst>
            <pc:docMk/>
            <pc:sldMk cId="3785445527" sldId="628"/>
            <ac:picMk id="8" creationId="{A2D31080-9FF8-48F0-B4B3-65421D5E57A6}"/>
          </ac:picMkLst>
        </pc:picChg>
      </pc:sldChg>
      <pc:sldChg chg="addSp delSp modSp mod modAnim modNotesTx">
        <pc:chgData name="Daniel Valero" userId="31dd2ff7-9a08-462f-9096-6c487a317220" providerId="ADAL" clId="{8985719F-2960-467C-8373-8D4D9670E82F}" dt="2020-02-26T20:15:36.450" v="1307" actId="20577"/>
        <pc:sldMkLst>
          <pc:docMk/>
          <pc:sldMk cId="3568901222" sldId="629"/>
        </pc:sldMkLst>
        <pc:spChg chg="mod">
          <ac:chgData name="Daniel Valero" userId="31dd2ff7-9a08-462f-9096-6c487a317220" providerId="ADAL" clId="{8985719F-2960-467C-8373-8D4D9670E82F}" dt="2020-02-26T20:03:12.572" v="1096" actId="20577"/>
          <ac:spMkLst>
            <pc:docMk/>
            <pc:sldMk cId="3568901222" sldId="629"/>
            <ac:spMk id="3" creationId="{F35E8CBB-5A7D-4DEF-BAF7-8DD5D042F9E0}"/>
          </ac:spMkLst>
        </pc:spChg>
        <pc:spChg chg="del mod">
          <ac:chgData name="Daniel Valero" userId="31dd2ff7-9a08-462f-9096-6c487a317220" providerId="ADAL" clId="{8985719F-2960-467C-8373-8D4D9670E82F}" dt="2020-02-26T20:04:40.784" v="1107" actId="478"/>
          <ac:spMkLst>
            <pc:docMk/>
            <pc:sldMk cId="3568901222" sldId="629"/>
            <ac:spMk id="4" creationId="{F3616A99-090F-45E1-9334-58D58B148205}"/>
          </ac:spMkLst>
        </pc:spChg>
        <pc:spChg chg="add mod">
          <ac:chgData name="Daniel Valero" userId="31dd2ff7-9a08-462f-9096-6c487a317220" providerId="ADAL" clId="{8985719F-2960-467C-8373-8D4D9670E82F}" dt="2020-02-26T20:14:50.547" v="1304" actId="1076"/>
          <ac:spMkLst>
            <pc:docMk/>
            <pc:sldMk cId="3568901222" sldId="629"/>
            <ac:spMk id="6" creationId="{4E5875F7-E805-4DD7-AEE4-1E443FC74EB6}"/>
          </ac:spMkLst>
        </pc:spChg>
        <pc:spChg chg="add del mod">
          <ac:chgData name="Daniel Valero" userId="31dd2ff7-9a08-462f-9096-6c487a317220" providerId="ADAL" clId="{8985719F-2960-467C-8373-8D4D9670E82F}" dt="2020-02-26T20:11:26.700" v="1140" actId="478"/>
          <ac:spMkLst>
            <pc:docMk/>
            <pc:sldMk cId="3568901222" sldId="629"/>
            <ac:spMk id="8" creationId="{345B4662-F3BF-4D70-B725-89CAABFCA408}"/>
          </ac:spMkLst>
        </pc:spChg>
        <pc:spChg chg="add del mod">
          <ac:chgData name="Daniel Valero" userId="31dd2ff7-9a08-462f-9096-6c487a317220" providerId="ADAL" clId="{8985719F-2960-467C-8373-8D4D9670E82F}" dt="2020-02-26T20:12:12.311" v="1209" actId="478"/>
          <ac:spMkLst>
            <pc:docMk/>
            <pc:sldMk cId="3568901222" sldId="629"/>
            <ac:spMk id="9" creationId="{15EC4EB3-D85A-4F72-B8F1-BE508D6BA4CD}"/>
          </ac:spMkLst>
        </pc:spChg>
        <pc:spChg chg="add del mod">
          <ac:chgData name="Daniel Valero" userId="31dd2ff7-9a08-462f-9096-6c487a317220" providerId="ADAL" clId="{8985719F-2960-467C-8373-8D4D9670E82F}" dt="2020-02-26T20:12:24.694" v="1255" actId="478"/>
          <ac:spMkLst>
            <pc:docMk/>
            <pc:sldMk cId="3568901222" sldId="629"/>
            <ac:spMk id="12" creationId="{03BF6847-4AD7-4EAE-908F-A44B398B9B3F}"/>
          </ac:spMkLst>
        </pc:spChg>
        <pc:spChg chg="add mod">
          <ac:chgData name="Daniel Valero" userId="31dd2ff7-9a08-462f-9096-6c487a317220" providerId="ADAL" clId="{8985719F-2960-467C-8373-8D4D9670E82F}" dt="2020-02-26T20:14:50.547" v="1304" actId="1076"/>
          <ac:spMkLst>
            <pc:docMk/>
            <pc:sldMk cId="3568901222" sldId="629"/>
            <ac:spMk id="13" creationId="{61A4EF2A-9CD6-4F81-A953-B367ECFEB2CA}"/>
          </ac:spMkLst>
        </pc:spChg>
        <pc:spChg chg="add del mod">
          <ac:chgData name="Daniel Valero" userId="31dd2ff7-9a08-462f-9096-6c487a317220" providerId="ADAL" clId="{8985719F-2960-467C-8373-8D4D9670E82F}" dt="2020-02-26T20:12:18.886" v="1211" actId="478"/>
          <ac:spMkLst>
            <pc:docMk/>
            <pc:sldMk cId="3568901222" sldId="629"/>
            <ac:spMk id="15" creationId="{F98484C5-54FE-41E1-AA02-92AEA4C681F1}"/>
          </ac:spMkLst>
        </pc:spChg>
        <pc:spChg chg="add mod">
          <ac:chgData name="Daniel Valero" userId="31dd2ff7-9a08-462f-9096-6c487a317220" providerId="ADAL" clId="{8985719F-2960-467C-8373-8D4D9670E82F}" dt="2020-02-26T20:14:50.547" v="1304" actId="1076"/>
          <ac:spMkLst>
            <pc:docMk/>
            <pc:sldMk cId="3568901222" sldId="629"/>
            <ac:spMk id="16" creationId="{16ACA1FF-EB07-4914-B834-218D850E5F63}"/>
          </ac:spMkLst>
        </pc:spChg>
        <pc:graphicFrameChg chg="add mod modGraphic">
          <ac:chgData name="Daniel Valero" userId="31dd2ff7-9a08-462f-9096-6c487a317220" providerId="ADAL" clId="{8985719F-2960-467C-8373-8D4D9670E82F}" dt="2020-02-26T20:14:52.662" v="1305" actId="14100"/>
          <ac:graphicFrameMkLst>
            <pc:docMk/>
            <pc:sldMk cId="3568901222" sldId="629"/>
            <ac:graphicFrameMk id="14" creationId="{AB7BD9DA-F2E1-4F40-9193-F7C0E8AC6A24}"/>
          </ac:graphicFrameMkLst>
        </pc:graphicFrameChg>
        <pc:picChg chg="add mod">
          <ac:chgData name="Daniel Valero" userId="31dd2ff7-9a08-462f-9096-6c487a317220" providerId="ADAL" clId="{8985719F-2960-467C-8373-8D4D9670E82F}" dt="2020-02-26T20:14:50.547" v="1304" actId="1076"/>
          <ac:picMkLst>
            <pc:docMk/>
            <pc:sldMk cId="3568901222" sldId="629"/>
            <ac:picMk id="5" creationId="{B00891A9-DEA0-492A-A431-5CEB4E74BDEB}"/>
          </ac:picMkLst>
        </pc:picChg>
        <pc:picChg chg="add mod">
          <ac:chgData name="Daniel Valero" userId="31dd2ff7-9a08-462f-9096-6c487a317220" providerId="ADAL" clId="{8985719F-2960-467C-8373-8D4D9670E82F}" dt="2020-02-26T20:14:50.547" v="1304" actId="1076"/>
          <ac:picMkLst>
            <pc:docMk/>
            <pc:sldMk cId="3568901222" sldId="629"/>
            <ac:picMk id="7" creationId="{47774C25-286D-4711-B033-EE7733D22408}"/>
          </ac:picMkLst>
        </pc:picChg>
        <pc:picChg chg="add mod">
          <ac:chgData name="Daniel Valero" userId="31dd2ff7-9a08-462f-9096-6c487a317220" providerId="ADAL" clId="{8985719F-2960-467C-8373-8D4D9670E82F}" dt="2020-02-26T20:14:50.547" v="1304" actId="1076"/>
          <ac:picMkLst>
            <pc:docMk/>
            <pc:sldMk cId="3568901222" sldId="629"/>
            <ac:picMk id="10" creationId="{7DEDF4AB-284D-459C-93B8-C1053307F741}"/>
          </ac:picMkLst>
        </pc:picChg>
        <pc:picChg chg="add mod">
          <ac:chgData name="Daniel Valero" userId="31dd2ff7-9a08-462f-9096-6c487a317220" providerId="ADAL" clId="{8985719F-2960-467C-8373-8D4D9670E82F}" dt="2020-02-26T20:14:50.547" v="1304" actId="1076"/>
          <ac:picMkLst>
            <pc:docMk/>
            <pc:sldMk cId="3568901222" sldId="629"/>
            <ac:picMk id="11" creationId="{E536A979-F355-43F6-8BB2-4400F8C54343}"/>
          </ac:picMkLst>
        </pc:picChg>
      </pc:sldChg>
      <pc:sldChg chg="addSp delSp modSp mod ord modNotesTx">
        <pc:chgData name="Daniel Valero" userId="31dd2ff7-9a08-462f-9096-6c487a317220" providerId="ADAL" clId="{8985719F-2960-467C-8373-8D4D9670E82F}" dt="2020-02-26T20:32:59.848" v="1637" actId="6549"/>
        <pc:sldMkLst>
          <pc:docMk/>
          <pc:sldMk cId="3702163554" sldId="630"/>
        </pc:sldMkLst>
        <pc:spChg chg="mod">
          <ac:chgData name="Daniel Valero" userId="31dd2ff7-9a08-462f-9096-6c487a317220" providerId="ADAL" clId="{8985719F-2960-467C-8373-8D4D9670E82F}" dt="2020-02-26T20:32:57.659" v="1636" actId="790"/>
          <ac:spMkLst>
            <pc:docMk/>
            <pc:sldMk cId="3702163554" sldId="630"/>
            <ac:spMk id="2" creationId="{EB67312A-9819-43C6-8D84-D9136E6CFFCC}"/>
          </ac:spMkLst>
        </pc:spChg>
        <pc:spChg chg="mod">
          <ac:chgData name="Daniel Valero" userId="31dd2ff7-9a08-462f-9096-6c487a317220" providerId="ADAL" clId="{8985719F-2960-467C-8373-8D4D9670E82F}" dt="2020-02-26T20:32:57.659" v="1636" actId="790"/>
          <ac:spMkLst>
            <pc:docMk/>
            <pc:sldMk cId="3702163554" sldId="630"/>
            <ac:spMk id="3" creationId="{F35E8CBB-5A7D-4DEF-BAF7-8DD5D042F9E0}"/>
          </ac:spMkLst>
        </pc:spChg>
        <pc:spChg chg="del">
          <ac:chgData name="Daniel Valero" userId="31dd2ff7-9a08-462f-9096-6c487a317220" providerId="ADAL" clId="{8985719F-2960-467C-8373-8D4D9670E82F}" dt="2020-02-26T20:26:41.229" v="1338" actId="478"/>
          <ac:spMkLst>
            <pc:docMk/>
            <pc:sldMk cId="3702163554" sldId="630"/>
            <ac:spMk id="4" creationId="{F3616A99-090F-45E1-9334-58D58B148205}"/>
          </ac:spMkLst>
        </pc:spChg>
        <pc:spChg chg="add">
          <ac:chgData name="Daniel Valero" userId="31dd2ff7-9a08-462f-9096-6c487a317220" providerId="ADAL" clId="{8985719F-2960-467C-8373-8D4D9670E82F}" dt="2020-02-26T20:29:00.294" v="1374"/>
          <ac:spMkLst>
            <pc:docMk/>
            <pc:sldMk cId="3702163554" sldId="630"/>
            <ac:spMk id="9" creationId="{3A9327ED-1ECA-4361-83C4-918400E9A99E}"/>
          </ac:spMkLst>
        </pc:spChg>
        <pc:spChg chg="add mod">
          <ac:chgData name="Daniel Valero" userId="31dd2ff7-9a08-462f-9096-6c487a317220" providerId="ADAL" clId="{8985719F-2960-467C-8373-8D4D9670E82F}" dt="2020-02-26T20:29:30.230" v="1387" actId="21"/>
          <ac:spMkLst>
            <pc:docMk/>
            <pc:sldMk cId="3702163554" sldId="630"/>
            <ac:spMk id="10" creationId="{45A8A4C5-0E3F-4E48-B3AE-5CC53F0F382E}"/>
          </ac:spMkLst>
        </pc:spChg>
        <pc:spChg chg="add">
          <ac:chgData name="Daniel Valero" userId="31dd2ff7-9a08-462f-9096-6c487a317220" providerId="ADAL" clId="{8985719F-2960-467C-8373-8D4D9670E82F}" dt="2020-02-26T20:29:00.294" v="1374"/>
          <ac:spMkLst>
            <pc:docMk/>
            <pc:sldMk cId="3702163554" sldId="630"/>
            <ac:spMk id="11" creationId="{24F242C0-652B-4ED4-9554-B59090434842}"/>
          </ac:spMkLst>
        </pc:spChg>
        <pc:spChg chg="add mod">
          <ac:chgData name="Daniel Valero" userId="31dd2ff7-9a08-462f-9096-6c487a317220" providerId="ADAL" clId="{8985719F-2960-467C-8373-8D4D9670E82F}" dt="2020-02-26T20:29:22.275" v="1381" actId="21"/>
          <ac:spMkLst>
            <pc:docMk/>
            <pc:sldMk cId="3702163554" sldId="630"/>
            <ac:spMk id="12" creationId="{3E433D2A-203E-4693-8CCD-AED201E44C23}"/>
          </ac:spMkLst>
        </pc:spChg>
        <pc:spChg chg="add mod">
          <ac:chgData name="Daniel Valero" userId="31dd2ff7-9a08-462f-9096-6c487a317220" providerId="ADAL" clId="{8985719F-2960-467C-8373-8D4D9670E82F}" dt="2020-02-26T20:32:59.848" v="1637" actId="6549"/>
          <ac:spMkLst>
            <pc:docMk/>
            <pc:sldMk cId="3702163554" sldId="630"/>
            <ac:spMk id="13" creationId="{885F2BFB-4471-4E46-BB83-F9FEC705CDC9}"/>
          </ac:spMkLst>
        </pc:spChg>
        <pc:grpChg chg="add del mod">
          <ac:chgData name="Daniel Valero" userId="31dd2ff7-9a08-462f-9096-6c487a317220" providerId="ADAL" clId="{8985719F-2960-467C-8373-8D4D9670E82F}" dt="2020-02-26T20:29:34.226" v="1391" actId="478"/>
          <ac:grpSpMkLst>
            <pc:docMk/>
            <pc:sldMk cId="3702163554" sldId="630"/>
            <ac:grpSpMk id="7" creationId="{190B53CE-8254-494F-AE1C-1828F51627FB}"/>
          </ac:grpSpMkLst>
        </pc:grpChg>
        <pc:grpChg chg="add del mod">
          <ac:chgData name="Daniel Valero" userId="31dd2ff7-9a08-462f-9096-6c487a317220" providerId="ADAL" clId="{8985719F-2960-467C-8373-8D4D9670E82F}" dt="2020-02-26T20:29:34.644" v="1392" actId="478"/>
          <ac:grpSpMkLst>
            <pc:docMk/>
            <pc:sldMk cId="3702163554" sldId="630"/>
            <ac:grpSpMk id="8" creationId="{8F556EB8-53CA-4838-95BF-456EA02A36A0}"/>
          </ac:grpSpMkLst>
        </pc:grpChg>
        <pc:graphicFrameChg chg="add del mod">
          <ac:chgData name="Daniel Valero" userId="31dd2ff7-9a08-462f-9096-6c487a317220" providerId="ADAL" clId="{8985719F-2960-467C-8373-8D4D9670E82F}" dt="2020-02-26T20:28:57.625" v="1373" actId="478"/>
          <ac:graphicFrameMkLst>
            <pc:docMk/>
            <pc:sldMk cId="3702163554" sldId="630"/>
            <ac:graphicFrameMk id="5" creationId="{A4C0AA26-FED2-4D1C-81D3-E0AD48DD8274}"/>
          </ac:graphicFrameMkLst>
        </pc:graphicFrameChg>
        <pc:picChg chg="add mod">
          <ac:chgData name="Daniel Valero" userId="31dd2ff7-9a08-462f-9096-6c487a317220" providerId="ADAL" clId="{8985719F-2960-467C-8373-8D4D9670E82F}" dt="2020-02-26T20:29:40.558" v="1396" actId="1076"/>
          <ac:picMkLst>
            <pc:docMk/>
            <pc:sldMk cId="3702163554" sldId="630"/>
            <ac:picMk id="6" creationId="{3E011ADC-9AED-4A4A-A6ED-0A60F49999A4}"/>
          </ac:picMkLst>
        </pc:picChg>
      </pc:sldChg>
      <pc:sldChg chg="addSp delSp modSp mod">
        <pc:chgData name="Daniel Valero" userId="31dd2ff7-9a08-462f-9096-6c487a317220" providerId="ADAL" clId="{8985719F-2960-467C-8373-8D4D9670E82F}" dt="2020-02-26T21:14:28.286" v="2269"/>
        <pc:sldMkLst>
          <pc:docMk/>
          <pc:sldMk cId="1732971809" sldId="631"/>
        </pc:sldMkLst>
        <pc:spChg chg="mod">
          <ac:chgData name="Daniel Valero" userId="31dd2ff7-9a08-462f-9096-6c487a317220" providerId="ADAL" clId="{8985719F-2960-467C-8373-8D4D9670E82F}" dt="2020-02-26T21:14:20.068" v="2267"/>
          <ac:spMkLst>
            <pc:docMk/>
            <pc:sldMk cId="1732971809" sldId="631"/>
            <ac:spMk id="3" creationId="{F35E8CBB-5A7D-4DEF-BAF7-8DD5D042F9E0}"/>
          </ac:spMkLst>
        </pc:spChg>
        <pc:spChg chg="del mod">
          <ac:chgData name="Daniel Valero" userId="31dd2ff7-9a08-462f-9096-6c487a317220" providerId="ADAL" clId="{8985719F-2960-467C-8373-8D4D9670E82F}" dt="2020-02-26T21:14:04.695" v="2266"/>
          <ac:spMkLst>
            <pc:docMk/>
            <pc:sldMk cId="1732971809" sldId="631"/>
            <ac:spMk id="4" creationId="{F3616A99-090F-45E1-9334-58D58B148205}"/>
          </ac:spMkLst>
        </pc:spChg>
        <pc:spChg chg="add del">
          <ac:chgData name="Daniel Valero" userId="31dd2ff7-9a08-462f-9096-6c487a317220" providerId="ADAL" clId="{8985719F-2960-467C-8373-8D4D9670E82F}" dt="2020-02-26T21:14:28.286" v="2269"/>
          <ac:spMkLst>
            <pc:docMk/>
            <pc:sldMk cId="1732971809" sldId="631"/>
            <ac:spMk id="6" creationId="{4DD58FCE-EF64-4500-96D6-5F31A44168E8}"/>
          </ac:spMkLst>
        </pc:spChg>
        <pc:graphicFrameChg chg="add">
          <ac:chgData name="Daniel Valero" userId="31dd2ff7-9a08-462f-9096-6c487a317220" providerId="ADAL" clId="{8985719F-2960-467C-8373-8D4D9670E82F}" dt="2020-02-26T21:14:04.695" v="2266"/>
          <ac:graphicFrameMkLst>
            <pc:docMk/>
            <pc:sldMk cId="1732971809" sldId="631"/>
            <ac:graphicFrameMk id="5" creationId="{4B6F0E6F-291B-46F9-BE67-DC7BF90065BB}"/>
          </ac:graphicFrameMkLst>
        </pc:graphicFrameChg>
      </pc:sldChg>
      <pc:sldChg chg="addSp delSp modSp mod ord modNotesTx">
        <pc:chgData name="Daniel Valero" userId="31dd2ff7-9a08-462f-9096-6c487a317220" providerId="ADAL" clId="{8985719F-2960-467C-8373-8D4D9670E82F}" dt="2020-02-26T21:04:41.528" v="2260" actId="20577"/>
        <pc:sldMkLst>
          <pc:docMk/>
          <pc:sldMk cId="2857195574" sldId="632"/>
        </pc:sldMkLst>
        <pc:spChg chg="mod">
          <ac:chgData name="Daniel Valero" userId="31dd2ff7-9a08-462f-9096-6c487a317220" providerId="ADAL" clId="{8985719F-2960-467C-8373-8D4D9670E82F}" dt="2020-02-26T20:56:28.775" v="2025" actId="20577"/>
          <ac:spMkLst>
            <pc:docMk/>
            <pc:sldMk cId="2857195574" sldId="632"/>
            <ac:spMk id="3" creationId="{F35E8CBB-5A7D-4DEF-BAF7-8DD5D042F9E0}"/>
          </ac:spMkLst>
        </pc:spChg>
        <pc:spChg chg="del">
          <ac:chgData name="Daniel Valero" userId="31dd2ff7-9a08-462f-9096-6c487a317220" providerId="ADAL" clId="{8985719F-2960-467C-8373-8D4D9670E82F}" dt="2020-02-26T20:50:58.361" v="1640" actId="3680"/>
          <ac:spMkLst>
            <pc:docMk/>
            <pc:sldMk cId="2857195574" sldId="632"/>
            <ac:spMk id="4" creationId="{F3616A99-090F-45E1-9334-58D58B148205}"/>
          </ac:spMkLst>
        </pc:spChg>
        <pc:spChg chg="add mod">
          <ac:chgData name="Daniel Valero" userId="31dd2ff7-9a08-462f-9096-6c487a317220" providerId="ADAL" clId="{8985719F-2960-467C-8373-8D4D9670E82F}" dt="2020-02-26T21:00:58.975" v="2165"/>
          <ac:spMkLst>
            <pc:docMk/>
            <pc:sldMk cId="2857195574" sldId="632"/>
            <ac:spMk id="7" creationId="{F95FA022-1EDE-4EA0-925E-37D66916E572}"/>
          </ac:spMkLst>
        </pc:spChg>
        <pc:spChg chg="add del mod ord">
          <ac:chgData name="Daniel Valero" userId="31dd2ff7-9a08-462f-9096-6c487a317220" providerId="ADAL" clId="{8985719F-2960-467C-8373-8D4D9670E82F}" dt="2020-02-26T21:02:08.668" v="2188" actId="478"/>
          <ac:spMkLst>
            <pc:docMk/>
            <pc:sldMk cId="2857195574" sldId="632"/>
            <ac:spMk id="9" creationId="{03108860-14F1-47F1-8624-843687577642}"/>
          </ac:spMkLst>
        </pc:spChg>
        <pc:graphicFrameChg chg="add del mod ord modGraphic">
          <ac:chgData name="Daniel Valero" userId="31dd2ff7-9a08-462f-9096-6c487a317220" providerId="ADAL" clId="{8985719F-2960-467C-8373-8D4D9670E82F}" dt="2020-02-26T21:00:25.229" v="2155" actId="478"/>
          <ac:graphicFrameMkLst>
            <pc:docMk/>
            <pc:sldMk cId="2857195574" sldId="632"/>
            <ac:graphicFrameMk id="5" creationId="{961B656D-7A10-4D2C-BAAA-438A84589E6A}"/>
          </ac:graphicFrameMkLst>
        </pc:graphicFrameChg>
        <pc:graphicFrameChg chg="add mod modGraphic">
          <ac:chgData name="Daniel Valero" userId="31dd2ff7-9a08-462f-9096-6c487a317220" providerId="ADAL" clId="{8985719F-2960-467C-8373-8D4D9670E82F}" dt="2020-02-26T21:04:06.794" v="2211" actId="1076"/>
          <ac:graphicFrameMkLst>
            <pc:docMk/>
            <pc:sldMk cId="2857195574" sldId="632"/>
            <ac:graphicFrameMk id="10" creationId="{75AC7946-B543-4AC6-BEEB-2081C063A73D}"/>
          </ac:graphicFrameMkLst>
        </pc:graphicFrameChg>
      </pc:sldChg>
      <pc:sldChg chg="modSp mod modNotesTx">
        <pc:chgData name="Daniel Valero" userId="31dd2ff7-9a08-462f-9096-6c487a317220" providerId="ADAL" clId="{8985719F-2960-467C-8373-8D4D9670E82F}" dt="2020-02-26T19:20:39.690" v="104" actId="20577"/>
        <pc:sldMkLst>
          <pc:docMk/>
          <pc:sldMk cId="466097575" sldId="633"/>
        </pc:sldMkLst>
        <pc:spChg chg="mod">
          <ac:chgData name="Daniel Valero" userId="31dd2ff7-9a08-462f-9096-6c487a317220" providerId="ADAL" clId="{8985719F-2960-467C-8373-8D4D9670E82F}" dt="2020-02-26T19:20:39.690" v="104" actId="20577"/>
          <ac:spMkLst>
            <pc:docMk/>
            <pc:sldMk cId="466097575" sldId="633"/>
            <ac:spMk id="8" creationId="{D4E53F4A-1426-4587-A994-2539692BA5CD}"/>
          </ac:spMkLst>
        </pc:spChg>
        <pc:picChg chg="mod">
          <ac:chgData name="Daniel Valero" userId="31dd2ff7-9a08-462f-9096-6c487a317220" providerId="ADAL" clId="{8985719F-2960-467C-8373-8D4D9670E82F}" dt="2020-02-26T19:16:52.100" v="23" actId="1076"/>
          <ac:picMkLst>
            <pc:docMk/>
            <pc:sldMk cId="466097575" sldId="633"/>
            <ac:picMk id="1026" creationId="{7BF95E3C-D2EE-4E98-95D1-748526FEC2AB}"/>
          </ac:picMkLst>
        </pc:picChg>
      </pc:sldChg>
      <pc:sldChg chg="modSp add mod">
        <pc:chgData name="Daniel Valero" userId="31dd2ff7-9a08-462f-9096-6c487a317220" providerId="ADAL" clId="{8985719F-2960-467C-8373-8D4D9670E82F}" dt="2020-02-26T20:01:06.410" v="1079" actId="20577"/>
        <pc:sldMkLst>
          <pc:docMk/>
          <pc:sldMk cId="1566102222" sldId="634"/>
        </pc:sldMkLst>
        <pc:spChg chg="mod">
          <ac:chgData name="Daniel Valero" userId="31dd2ff7-9a08-462f-9096-6c487a317220" providerId="ADAL" clId="{8985719F-2960-467C-8373-8D4D9670E82F}" dt="2020-02-26T19:23:39.791" v="119"/>
          <ac:spMkLst>
            <pc:docMk/>
            <pc:sldMk cId="1566102222" sldId="634"/>
            <ac:spMk id="2" creationId="{EB67312A-9819-43C6-8D84-D9136E6CFFCC}"/>
          </ac:spMkLst>
        </pc:spChg>
        <pc:spChg chg="mod">
          <ac:chgData name="Daniel Valero" userId="31dd2ff7-9a08-462f-9096-6c487a317220" providerId="ADAL" clId="{8985719F-2960-467C-8373-8D4D9670E82F}" dt="2020-02-26T20:01:06.410" v="1079" actId="20577"/>
          <ac:spMkLst>
            <pc:docMk/>
            <pc:sldMk cId="1566102222" sldId="634"/>
            <ac:spMk id="4" creationId="{F3616A99-090F-45E1-9334-58D58B148205}"/>
          </ac:spMkLst>
        </pc:spChg>
        <pc:spChg chg="mod">
          <ac:chgData name="Daniel Valero" userId="31dd2ff7-9a08-462f-9096-6c487a317220" providerId="ADAL" clId="{8985719F-2960-467C-8373-8D4D9670E82F}" dt="2020-02-26T19:29:39.276" v="319" actId="552"/>
          <ac:spMkLst>
            <pc:docMk/>
            <pc:sldMk cId="1566102222" sldId="634"/>
            <ac:spMk id="6" creationId="{F8842B6B-AD6C-401F-904D-7A4A505688DB}"/>
          </ac:spMkLst>
        </pc:spChg>
        <pc:spChg chg="mod">
          <ac:chgData name="Daniel Valero" userId="31dd2ff7-9a08-462f-9096-6c487a317220" providerId="ADAL" clId="{8985719F-2960-467C-8373-8D4D9670E82F}" dt="2020-02-26T19:29:39.276" v="319" actId="552"/>
          <ac:spMkLst>
            <pc:docMk/>
            <pc:sldMk cId="1566102222" sldId="634"/>
            <ac:spMk id="8" creationId="{63B9B722-F161-4DC3-9B99-6703E07B34E0}"/>
          </ac:spMkLst>
        </pc:spChg>
        <pc:spChg chg="mod">
          <ac:chgData name="Daniel Valero" userId="31dd2ff7-9a08-462f-9096-6c487a317220" providerId="ADAL" clId="{8985719F-2960-467C-8373-8D4D9670E82F}" dt="2020-02-26T19:33:22.460" v="444" actId="14100"/>
          <ac:spMkLst>
            <pc:docMk/>
            <pc:sldMk cId="1566102222" sldId="634"/>
            <ac:spMk id="9" creationId="{C1C8E9F5-5846-45F0-9E02-D14844D69038}"/>
          </ac:spMkLst>
        </pc:spChg>
        <pc:spChg chg="mod">
          <ac:chgData name="Daniel Valero" userId="31dd2ff7-9a08-462f-9096-6c487a317220" providerId="ADAL" clId="{8985719F-2960-467C-8373-8D4D9670E82F}" dt="2020-02-26T19:28:39.886" v="238" actId="20577"/>
          <ac:spMkLst>
            <pc:docMk/>
            <pc:sldMk cId="1566102222" sldId="634"/>
            <ac:spMk id="11" creationId="{FFAAFCAB-7AC9-4807-ACDA-4668ED10F3AF}"/>
          </ac:spMkLst>
        </pc:spChg>
      </pc:sldChg>
      <pc:sldChg chg="addSp delSp modSp add mod modNotesTx">
        <pc:chgData name="Daniel Valero" userId="31dd2ff7-9a08-462f-9096-6c487a317220" providerId="ADAL" clId="{8985719F-2960-467C-8373-8D4D9670E82F}" dt="2020-02-26T20:31:10.239" v="1540" actId="20577"/>
        <pc:sldMkLst>
          <pc:docMk/>
          <pc:sldMk cId="2202610295" sldId="635"/>
        </pc:sldMkLst>
        <pc:spChg chg="mod">
          <ac:chgData name="Daniel Valero" userId="31dd2ff7-9a08-462f-9096-6c487a317220" providerId="ADAL" clId="{8985719F-2960-467C-8373-8D4D9670E82F}" dt="2020-02-26T19:24:09.526" v="122"/>
          <ac:spMkLst>
            <pc:docMk/>
            <pc:sldMk cId="2202610295" sldId="635"/>
            <ac:spMk id="2" creationId="{EB67312A-9819-43C6-8D84-D9136E6CFFCC}"/>
          </ac:spMkLst>
        </pc:spChg>
        <pc:spChg chg="del mod">
          <ac:chgData name="Daniel Valero" userId="31dd2ff7-9a08-462f-9096-6c487a317220" providerId="ADAL" clId="{8985719F-2960-467C-8373-8D4D9670E82F}" dt="2020-02-26T19:31:13.761" v="403" actId="478"/>
          <ac:spMkLst>
            <pc:docMk/>
            <pc:sldMk cId="2202610295" sldId="635"/>
            <ac:spMk id="4" creationId="{F3616A99-090F-45E1-9334-58D58B148205}"/>
          </ac:spMkLst>
        </pc:spChg>
        <pc:graphicFrameChg chg="add mod modGraphic">
          <ac:chgData name="Daniel Valero" userId="31dd2ff7-9a08-462f-9096-6c487a317220" providerId="ADAL" clId="{8985719F-2960-467C-8373-8D4D9670E82F}" dt="2020-02-26T20:31:10.239" v="1540" actId="20577"/>
          <ac:graphicFrameMkLst>
            <pc:docMk/>
            <pc:sldMk cId="2202610295" sldId="635"/>
            <ac:graphicFrameMk id="5" creationId="{85FCFEA5-76C0-481C-AAC4-2ED55A37454B}"/>
          </ac:graphicFrameMkLst>
        </pc:graphicFrameChg>
        <pc:picChg chg="mod">
          <ac:chgData name="Daniel Valero" userId="31dd2ff7-9a08-462f-9096-6c487a317220" providerId="ADAL" clId="{8985719F-2960-467C-8373-8D4D9670E82F}" dt="2020-02-26T19:32:41.896" v="441" actId="1076"/>
          <ac:picMkLst>
            <pc:docMk/>
            <pc:sldMk cId="2202610295" sldId="635"/>
            <ac:picMk id="5122" creationId="{2ABF4842-E9EB-4F95-AFC3-C83F1B5607BD}"/>
          </ac:picMkLst>
        </pc:picChg>
      </pc:sldChg>
      <pc:sldChg chg="modSp add mod">
        <pc:chgData name="Daniel Valero" userId="31dd2ff7-9a08-462f-9096-6c487a317220" providerId="ADAL" clId="{8985719F-2960-467C-8373-8D4D9670E82F}" dt="2020-02-26T20:01:13.560" v="1081"/>
        <pc:sldMkLst>
          <pc:docMk/>
          <pc:sldMk cId="2109418391" sldId="636"/>
        </pc:sldMkLst>
        <pc:spChg chg="mod">
          <ac:chgData name="Daniel Valero" userId="31dd2ff7-9a08-462f-9096-6c487a317220" providerId="ADAL" clId="{8985719F-2960-467C-8373-8D4D9670E82F}" dt="2020-02-26T19:47:16.436" v="778"/>
          <ac:spMkLst>
            <pc:docMk/>
            <pc:sldMk cId="2109418391" sldId="636"/>
            <ac:spMk id="2" creationId="{EB67312A-9819-43C6-8D84-D9136E6CFFCC}"/>
          </ac:spMkLst>
        </pc:spChg>
        <pc:spChg chg="mod">
          <ac:chgData name="Daniel Valero" userId="31dd2ff7-9a08-462f-9096-6c487a317220" providerId="ADAL" clId="{8985719F-2960-467C-8373-8D4D9670E82F}" dt="2020-02-26T20:01:13.560" v="1081"/>
          <ac:spMkLst>
            <pc:docMk/>
            <pc:sldMk cId="2109418391" sldId="636"/>
            <ac:spMk id="4" creationId="{F3616A99-090F-45E1-9334-58D58B148205}"/>
          </ac:spMkLst>
        </pc:spChg>
        <pc:spChg chg="mod">
          <ac:chgData name="Daniel Valero" userId="31dd2ff7-9a08-462f-9096-6c487a317220" providerId="ADAL" clId="{8985719F-2960-467C-8373-8D4D9670E82F}" dt="2020-02-26T19:47:35.805" v="780"/>
          <ac:spMkLst>
            <pc:docMk/>
            <pc:sldMk cId="2109418391" sldId="636"/>
            <ac:spMk id="6" creationId="{F8842B6B-AD6C-401F-904D-7A4A505688DB}"/>
          </ac:spMkLst>
        </pc:spChg>
        <pc:spChg chg="mod">
          <ac:chgData name="Daniel Valero" userId="31dd2ff7-9a08-462f-9096-6c487a317220" providerId="ADAL" clId="{8985719F-2960-467C-8373-8D4D9670E82F}" dt="2020-02-26T19:47:47.653" v="781"/>
          <ac:spMkLst>
            <pc:docMk/>
            <pc:sldMk cId="2109418391" sldId="636"/>
            <ac:spMk id="8" creationId="{63B9B722-F161-4DC3-9B99-6703E07B34E0}"/>
          </ac:spMkLst>
        </pc:spChg>
        <pc:spChg chg="mod">
          <ac:chgData name="Daniel Valero" userId="31dd2ff7-9a08-462f-9096-6c487a317220" providerId="ADAL" clId="{8985719F-2960-467C-8373-8D4D9670E82F}" dt="2020-02-26T19:48:05.773" v="782"/>
          <ac:spMkLst>
            <pc:docMk/>
            <pc:sldMk cId="2109418391" sldId="636"/>
            <ac:spMk id="9" creationId="{C1C8E9F5-5846-45F0-9E02-D14844D69038}"/>
          </ac:spMkLst>
        </pc:spChg>
        <pc:spChg chg="mod">
          <ac:chgData name="Daniel Valero" userId="31dd2ff7-9a08-462f-9096-6c487a317220" providerId="ADAL" clId="{8985719F-2960-467C-8373-8D4D9670E82F}" dt="2020-02-26T19:59:24.495" v="991" actId="20577"/>
          <ac:spMkLst>
            <pc:docMk/>
            <pc:sldMk cId="2109418391" sldId="636"/>
            <ac:spMk id="11" creationId="{FFAAFCAB-7AC9-4807-ACDA-4668ED10F3AF}"/>
          </ac:spMkLst>
        </pc:spChg>
      </pc:sldChg>
      <pc:sldChg chg="addSp delSp modSp add mod">
        <pc:chgData name="Daniel Valero" userId="31dd2ff7-9a08-462f-9096-6c487a317220" providerId="ADAL" clId="{8985719F-2960-467C-8373-8D4D9670E82F}" dt="2020-02-26T20:22:58.630" v="1320" actId="20577"/>
        <pc:sldMkLst>
          <pc:docMk/>
          <pc:sldMk cId="877878254" sldId="637"/>
        </pc:sldMkLst>
        <pc:spChg chg="mod">
          <ac:chgData name="Daniel Valero" userId="31dd2ff7-9a08-462f-9096-6c487a317220" providerId="ADAL" clId="{8985719F-2960-467C-8373-8D4D9670E82F}" dt="2020-02-26T20:00:08.001" v="1051" actId="790"/>
          <ac:spMkLst>
            <pc:docMk/>
            <pc:sldMk cId="877878254" sldId="637"/>
            <ac:spMk id="2" creationId="{EB67312A-9819-43C6-8D84-D9136E6CFFCC}"/>
          </ac:spMkLst>
        </pc:spChg>
        <pc:spChg chg="mod">
          <ac:chgData name="Daniel Valero" userId="31dd2ff7-9a08-462f-9096-6c487a317220" providerId="ADAL" clId="{8985719F-2960-467C-8373-8D4D9670E82F}" dt="2020-02-26T20:00:43.748" v="1059" actId="6549"/>
          <ac:spMkLst>
            <pc:docMk/>
            <pc:sldMk cId="877878254" sldId="637"/>
            <ac:spMk id="3" creationId="{F35E8CBB-5A7D-4DEF-BAF7-8DD5D042F9E0}"/>
          </ac:spMkLst>
        </pc:spChg>
        <pc:spChg chg="del">
          <ac:chgData name="Daniel Valero" userId="31dd2ff7-9a08-462f-9096-6c487a317220" providerId="ADAL" clId="{8985719F-2960-467C-8373-8D4D9670E82F}" dt="2020-02-26T20:00:00.673" v="1049" actId="478"/>
          <ac:spMkLst>
            <pc:docMk/>
            <pc:sldMk cId="877878254" sldId="637"/>
            <ac:spMk id="4" creationId="{F3616A99-090F-45E1-9334-58D58B148205}"/>
          </ac:spMkLst>
        </pc:spChg>
        <pc:spChg chg="add mod">
          <ac:chgData name="Daniel Valero" userId="31dd2ff7-9a08-462f-9096-6c487a317220" providerId="ADAL" clId="{8985719F-2960-467C-8373-8D4D9670E82F}" dt="2020-02-26T20:22:58.630" v="1320" actId="20577"/>
          <ac:spMkLst>
            <pc:docMk/>
            <pc:sldMk cId="877878254" sldId="637"/>
            <ac:spMk id="5" creationId="{1AD8A9F0-64D5-48AF-A056-EB187C5F6CEC}"/>
          </ac:spMkLst>
        </pc:spChg>
        <pc:spChg chg="add mod">
          <ac:chgData name="Daniel Valero" userId="31dd2ff7-9a08-462f-9096-6c487a317220" providerId="ADAL" clId="{8985719F-2960-467C-8373-8D4D9670E82F}" dt="2020-02-26T20:02:30.387" v="1086" actId="14100"/>
          <ac:spMkLst>
            <pc:docMk/>
            <pc:sldMk cId="877878254" sldId="637"/>
            <ac:spMk id="6" creationId="{1299D8ED-9125-42F0-BC98-71AC4A50AC72}"/>
          </ac:spMkLst>
        </pc:spChg>
        <pc:spChg chg="add mod">
          <ac:chgData name="Daniel Valero" userId="31dd2ff7-9a08-462f-9096-6c487a317220" providerId="ADAL" clId="{8985719F-2960-467C-8373-8D4D9670E82F}" dt="2020-02-26T20:02:49.038" v="1087"/>
          <ac:spMkLst>
            <pc:docMk/>
            <pc:sldMk cId="877878254" sldId="637"/>
            <ac:spMk id="7" creationId="{35E21671-58AB-46FA-8C84-E2DBA2787BCF}"/>
          </ac:spMkLst>
        </pc:spChg>
        <pc:spChg chg="add mod">
          <ac:chgData name="Daniel Valero" userId="31dd2ff7-9a08-462f-9096-6c487a317220" providerId="ADAL" clId="{8985719F-2960-467C-8373-8D4D9670E82F}" dt="2020-02-26T20:03:01.828" v="1088"/>
          <ac:spMkLst>
            <pc:docMk/>
            <pc:sldMk cId="877878254" sldId="637"/>
            <ac:spMk id="8" creationId="{08AF5E7D-8C05-4C56-84A2-4EDBD776ECBB}"/>
          </ac:spMkLst>
        </pc:spChg>
      </pc:sldChg>
      <pc:sldChg chg="delSp modSp add mod">
        <pc:chgData name="Daniel Valero" userId="31dd2ff7-9a08-462f-9096-6c487a317220" providerId="ADAL" clId="{8985719F-2960-467C-8373-8D4D9670E82F}" dt="2020-02-26T20:24:15.563" v="1337"/>
        <pc:sldMkLst>
          <pc:docMk/>
          <pc:sldMk cId="2014377657" sldId="638"/>
        </pc:sldMkLst>
        <pc:spChg chg="mod">
          <ac:chgData name="Daniel Valero" userId="31dd2ff7-9a08-462f-9096-6c487a317220" providerId="ADAL" clId="{8985719F-2960-467C-8373-8D4D9670E82F}" dt="2020-02-26T20:23:10.922" v="1324" actId="20577"/>
          <ac:spMkLst>
            <pc:docMk/>
            <pc:sldMk cId="2014377657" sldId="638"/>
            <ac:spMk id="2" creationId="{EB67312A-9819-43C6-8D84-D9136E6CFFCC}"/>
          </ac:spMkLst>
        </pc:spChg>
        <pc:spChg chg="mod">
          <ac:chgData name="Daniel Valero" userId="31dd2ff7-9a08-462f-9096-6c487a317220" providerId="ADAL" clId="{8985719F-2960-467C-8373-8D4D9670E82F}" dt="2020-02-26T20:23:52.414" v="1333" actId="6549"/>
          <ac:spMkLst>
            <pc:docMk/>
            <pc:sldMk cId="2014377657" sldId="638"/>
            <ac:spMk id="5" creationId="{1AD8A9F0-64D5-48AF-A056-EB187C5F6CEC}"/>
          </ac:spMkLst>
        </pc:spChg>
        <pc:spChg chg="mod">
          <ac:chgData name="Daniel Valero" userId="31dd2ff7-9a08-462f-9096-6c487a317220" providerId="ADAL" clId="{8985719F-2960-467C-8373-8D4D9670E82F}" dt="2020-02-26T20:23:49.509" v="1331" actId="1076"/>
          <ac:spMkLst>
            <pc:docMk/>
            <pc:sldMk cId="2014377657" sldId="638"/>
            <ac:spMk id="6" creationId="{1299D8ED-9125-42F0-BC98-71AC4A50AC72}"/>
          </ac:spMkLst>
        </pc:spChg>
        <pc:spChg chg="del">
          <ac:chgData name="Daniel Valero" userId="31dd2ff7-9a08-462f-9096-6c487a317220" providerId="ADAL" clId="{8985719F-2960-467C-8373-8D4D9670E82F}" dt="2020-02-26T20:23:43.494" v="1329" actId="478"/>
          <ac:spMkLst>
            <pc:docMk/>
            <pc:sldMk cId="2014377657" sldId="638"/>
            <ac:spMk id="7" creationId="{35E21671-58AB-46FA-8C84-E2DBA2787BCF}"/>
          </ac:spMkLst>
        </pc:spChg>
        <pc:spChg chg="mod">
          <ac:chgData name="Daniel Valero" userId="31dd2ff7-9a08-462f-9096-6c487a317220" providerId="ADAL" clId="{8985719F-2960-467C-8373-8D4D9670E82F}" dt="2020-02-26T20:24:15.563" v="1337"/>
          <ac:spMkLst>
            <pc:docMk/>
            <pc:sldMk cId="2014377657" sldId="638"/>
            <ac:spMk id="8" creationId="{08AF5E7D-8C05-4C56-84A2-4EDBD776ECBB}"/>
          </ac:spMkLst>
        </pc:spChg>
      </pc:sldChg>
      <pc:sldChg chg="modSp add mod">
        <pc:chgData name="Daniel Valero" userId="31dd2ff7-9a08-462f-9096-6c487a317220" providerId="ADAL" clId="{8985719F-2960-467C-8373-8D4D9670E82F}" dt="2020-02-26T20:58:43.756" v="2140"/>
        <pc:sldMkLst>
          <pc:docMk/>
          <pc:sldMk cId="3484407754" sldId="639"/>
        </pc:sldMkLst>
        <pc:spChg chg="mod">
          <ac:chgData name="Daniel Valero" userId="31dd2ff7-9a08-462f-9096-6c487a317220" providerId="ADAL" clId="{8985719F-2960-467C-8373-8D4D9670E82F}" dt="2020-02-26T20:57:12.059" v="2029"/>
          <ac:spMkLst>
            <pc:docMk/>
            <pc:sldMk cId="3484407754" sldId="639"/>
            <ac:spMk id="2" creationId="{EB67312A-9819-43C6-8D84-D9136E6CFFCC}"/>
          </ac:spMkLst>
        </pc:spChg>
        <pc:spChg chg="mod">
          <ac:chgData name="Daniel Valero" userId="31dd2ff7-9a08-462f-9096-6c487a317220" providerId="ADAL" clId="{8985719F-2960-467C-8373-8D4D9670E82F}" dt="2020-02-26T20:57:22.509" v="2032"/>
          <ac:spMkLst>
            <pc:docMk/>
            <pc:sldMk cId="3484407754" sldId="639"/>
            <ac:spMk id="3" creationId="{F35E8CBB-5A7D-4DEF-BAF7-8DD5D042F9E0}"/>
          </ac:spMkLst>
        </pc:spChg>
        <pc:spChg chg="mod">
          <ac:chgData name="Daniel Valero" userId="31dd2ff7-9a08-462f-9096-6c487a317220" providerId="ADAL" clId="{8985719F-2960-467C-8373-8D4D9670E82F}" dt="2020-02-26T20:57:39.088" v="2033"/>
          <ac:spMkLst>
            <pc:docMk/>
            <pc:sldMk cId="3484407754" sldId="639"/>
            <ac:spMk id="6" creationId="{1299D8ED-9125-42F0-BC98-71AC4A50AC72}"/>
          </ac:spMkLst>
        </pc:spChg>
        <pc:spChg chg="mod">
          <ac:chgData name="Daniel Valero" userId="31dd2ff7-9a08-462f-9096-6c487a317220" providerId="ADAL" clId="{8985719F-2960-467C-8373-8D4D9670E82F}" dt="2020-02-26T20:58:43.756" v="2140"/>
          <ac:spMkLst>
            <pc:docMk/>
            <pc:sldMk cId="3484407754" sldId="639"/>
            <ac:spMk id="8" creationId="{08AF5E7D-8C05-4C56-84A2-4EDBD776ECBB}"/>
          </ac:spMkLst>
        </pc:spChg>
      </pc:sldChg>
      <pc:sldChg chg="addSp delSp modSp add mod modNotesTx">
        <pc:chgData name="Daniel Valero" userId="31dd2ff7-9a08-462f-9096-6c487a317220" providerId="ADAL" clId="{8985719F-2960-467C-8373-8D4D9670E82F}" dt="2020-02-26T21:22:07.919" v="2411" actId="12"/>
        <pc:sldMkLst>
          <pc:docMk/>
          <pc:sldMk cId="2502654232" sldId="640"/>
        </pc:sldMkLst>
        <pc:spChg chg="mod">
          <ac:chgData name="Daniel Valero" userId="31dd2ff7-9a08-462f-9096-6c487a317220" providerId="ADAL" clId="{8985719F-2960-467C-8373-8D4D9670E82F}" dt="2020-02-26T21:17:06.563" v="2278" actId="20577"/>
          <ac:spMkLst>
            <pc:docMk/>
            <pc:sldMk cId="2502654232" sldId="640"/>
            <ac:spMk id="3" creationId="{F35E8CBB-5A7D-4DEF-BAF7-8DD5D042F9E0}"/>
          </ac:spMkLst>
        </pc:spChg>
        <pc:spChg chg="add mod">
          <ac:chgData name="Daniel Valero" userId="31dd2ff7-9a08-462f-9096-6c487a317220" providerId="ADAL" clId="{8985719F-2960-467C-8373-8D4D9670E82F}" dt="2020-02-26T21:19:13.903" v="2346" actId="20577"/>
          <ac:spMkLst>
            <pc:docMk/>
            <pc:sldMk cId="2502654232" sldId="640"/>
            <ac:spMk id="6" creationId="{B2DA85DE-71D1-48B3-823A-E1808778A06F}"/>
          </ac:spMkLst>
        </pc:spChg>
        <pc:graphicFrameChg chg="del mod">
          <ac:chgData name="Daniel Valero" userId="31dd2ff7-9a08-462f-9096-6c487a317220" providerId="ADAL" clId="{8985719F-2960-467C-8373-8D4D9670E82F}" dt="2020-02-26T21:17:10.892" v="2281" actId="478"/>
          <ac:graphicFrameMkLst>
            <pc:docMk/>
            <pc:sldMk cId="2502654232" sldId="640"/>
            <ac:graphicFrameMk id="5" creationId="{4B6F0E6F-291B-46F9-BE67-DC7BF90065BB}"/>
          </ac:graphicFrameMkLst>
        </pc:graphicFrameChg>
      </pc:sldChg>
      <pc:sldChg chg="modSp add mod">
        <pc:chgData name="Daniel Valero" userId="31dd2ff7-9a08-462f-9096-6c487a317220" providerId="ADAL" clId="{8985719F-2960-467C-8373-8D4D9670E82F}" dt="2020-02-26T21:21:29.623" v="2356" actId="14100"/>
        <pc:sldMkLst>
          <pc:docMk/>
          <pc:sldMk cId="3277872637" sldId="641"/>
        </pc:sldMkLst>
        <pc:spChg chg="mod">
          <ac:chgData name="Daniel Valero" userId="31dd2ff7-9a08-462f-9096-6c487a317220" providerId="ADAL" clId="{8985719F-2960-467C-8373-8D4D9670E82F}" dt="2020-02-26T21:20:45.446" v="2348"/>
          <ac:spMkLst>
            <pc:docMk/>
            <pc:sldMk cId="3277872637" sldId="641"/>
            <ac:spMk id="2" creationId="{EB67312A-9819-43C6-8D84-D9136E6CFFCC}"/>
          </ac:spMkLst>
        </pc:spChg>
        <pc:spChg chg="mod">
          <ac:chgData name="Daniel Valero" userId="31dd2ff7-9a08-462f-9096-6c487a317220" providerId="ADAL" clId="{8985719F-2960-467C-8373-8D4D9670E82F}" dt="2020-02-26T21:20:48.367" v="2349"/>
          <ac:spMkLst>
            <pc:docMk/>
            <pc:sldMk cId="3277872637" sldId="641"/>
            <ac:spMk id="3" creationId="{F35E8CBB-5A7D-4DEF-BAF7-8DD5D042F9E0}"/>
          </ac:spMkLst>
        </pc:spChg>
        <pc:spChg chg="mod">
          <ac:chgData name="Daniel Valero" userId="31dd2ff7-9a08-462f-9096-6c487a317220" providerId="ADAL" clId="{8985719F-2960-467C-8373-8D4D9670E82F}" dt="2020-02-26T21:21:03.331" v="2350"/>
          <ac:spMkLst>
            <pc:docMk/>
            <pc:sldMk cId="3277872637" sldId="641"/>
            <ac:spMk id="6" creationId="{1299D8ED-9125-42F0-BC98-71AC4A50AC72}"/>
          </ac:spMkLst>
        </pc:spChg>
        <pc:spChg chg="mod">
          <ac:chgData name="Daniel Valero" userId="31dd2ff7-9a08-462f-9096-6c487a317220" providerId="ADAL" clId="{8985719F-2960-467C-8373-8D4D9670E82F}" dt="2020-02-26T21:21:29.623" v="2356" actId="14100"/>
          <ac:spMkLst>
            <pc:docMk/>
            <pc:sldMk cId="3277872637" sldId="641"/>
            <ac:spMk id="8" creationId="{08AF5E7D-8C05-4C56-84A2-4EDBD776ECBB}"/>
          </ac:spMkLst>
        </pc:spChg>
      </pc:sldChg>
      <pc:sldChg chg="modSp add">
        <pc:chgData name="Daniel Valero" userId="31dd2ff7-9a08-462f-9096-6c487a317220" providerId="ADAL" clId="{8985719F-2960-467C-8373-8D4D9670E82F}" dt="2020-02-26T21:24:49.572" v="2416"/>
        <pc:sldMkLst>
          <pc:docMk/>
          <pc:sldMk cId="3560969285" sldId="642"/>
        </pc:sldMkLst>
        <pc:spChg chg="mod">
          <ac:chgData name="Daniel Valero" userId="31dd2ff7-9a08-462f-9096-6c487a317220" providerId="ADAL" clId="{8985719F-2960-467C-8373-8D4D9670E82F}" dt="2020-02-26T21:24:02.628" v="2413"/>
          <ac:spMkLst>
            <pc:docMk/>
            <pc:sldMk cId="3560969285" sldId="642"/>
            <ac:spMk id="2" creationId="{EB67312A-9819-43C6-8D84-D9136E6CFFCC}"/>
          </ac:spMkLst>
        </pc:spChg>
        <pc:spChg chg="mod">
          <ac:chgData name="Daniel Valero" userId="31dd2ff7-9a08-462f-9096-6c487a317220" providerId="ADAL" clId="{8985719F-2960-467C-8373-8D4D9670E82F}" dt="2020-02-26T21:24:06.292" v="2414"/>
          <ac:spMkLst>
            <pc:docMk/>
            <pc:sldMk cId="3560969285" sldId="642"/>
            <ac:spMk id="3" creationId="{F35E8CBB-5A7D-4DEF-BAF7-8DD5D042F9E0}"/>
          </ac:spMkLst>
        </pc:spChg>
        <pc:spChg chg="mod">
          <ac:chgData name="Daniel Valero" userId="31dd2ff7-9a08-462f-9096-6c487a317220" providerId="ADAL" clId="{8985719F-2960-467C-8373-8D4D9670E82F}" dt="2020-02-26T21:24:36.419" v="2415"/>
          <ac:spMkLst>
            <pc:docMk/>
            <pc:sldMk cId="3560969285" sldId="642"/>
            <ac:spMk id="6" creationId="{1299D8ED-9125-42F0-BC98-71AC4A50AC72}"/>
          </ac:spMkLst>
        </pc:spChg>
        <pc:spChg chg="mod">
          <ac:chgData name="Daniel Valero" userId="31dd2ff7-9a08-462f-9096-6c487a317220" providerId="ADAL" clId="{8985719F-2960-467C-8373-8D4D9670E82F}" dt="2020-02-26T21:24:49.572" v="2416"/>
          <ac:spMkLst>
            <pc:docMk/>
            <pc:sldMk cId="3560969285" sldId="642"/>
            <ac:spMk id="8" creationId="{08AF5E7D-8C05-4C56-84A2-4EDBD776ECBB}"/>
          </ac:spMkLst>
        </pc:spChg>
      </pc:sldChg>
    </pc:docChg>
  </pc:docChgLst>
  <pc:docChgLst>
    <pc:chgData name="Batuhan Yildiz" userId="90f344fc-4655-4923-aeaf-697bba59c1a7" providerId="ADAL" clId="{BE881843-838A-4FE4-8BD1-6A58786358E3}"/>
    <pc:docChg chg="undo custSel modSld">
      <pc:chgData name="Batuhan Yildiz" userId="90f344fc-4655-4923-aeaf-697bba59c1a7" providerId="ADAL" clId="{BE881843-838A-4FE4-8BD1-6A58786358E3}" dt="2020-04-06T16:21:31.858" v="135" actId="20577"/>
      <pc:docMkLst>
        <pc:docMk/>
      </pc:docMkLst>
      <pc:sldChg chg="modNotesTx">
        <pc:chgData name="Batuhan Yildiz" userId="90f344fc-4655-4923-aeaf-697bba59c1a7" providerId="ADAL" clId="{BE881843-838A-4FE4-8BD1-6A58786358E3}" dt="2020-04-06T16:17:28.787" v="105"/>
        <pc:sldMkLst>
          <pc:docMk/>
          <pc:sldMk cId="4267675391" sldId="531"/>
        </pc:sldMkLst>
      </pc:sldChg>
      <pc:sldChg chg="modSp mod modNotesTx">
        <pc:chgData name="Batuhan Yildiz" userId="90f344fc-4655-4923-aeaf-697bba59c1a7" providerId="ADAL" clId="{BE881843-838A-4FE4-8BD1-6A58786358E3}" dt="2020-04-06T16:18:07.306" v="110"/>
        <pc:sldMkLst>
          <pc:docMk/>
          <pc:sldMk cId="670385602" sldId="567"/>
        </pc:sldMkLst>
        <pc:spChg chg="mod">
          <ac:chgData name="Batuhan Yildiz" userId="90f344fc-4655-4923-aeaf-697bba59c1a7" providerId="ADAL" clId="{BE881843-838A-4FE4-8BD1-6A58786358E3}" dt="2020-04-03T22:17:47.921" v="51" actId="113"/>
          <ac:spMkLst>
            <pc:docMk/>
            <pc:sldMk cId="670385602" sldId="567"/>
            <ac:spMk id="6" creationId="{637E159C-9ACF-48AE-927A-D5FB13695C7F}"/>
          </ac:spMkLst>
        </pc:spChg>
      </pc:sldChg>
      <pc:sldChg chg="modNotesTx">
        <pc:chgData name="Batuhan Yildiz" userId="90f344fc-4655-4923-aeaf-697bba59c1a7" providerId="ADAL" clId="{BE881843-838A-4FE4-8BD1-6A58786358E3}" dt="2020-04-06T16:18:33.490" v="114" actId="20577"/>
        <pc:sldMkLst>
          <pc:docMk/>
          <pc:sldMk cId="2147177822" sldId="568"/>
        </pc:sldMkLst>
      </pc:sldChg>
      <pc:sldChg chg="modSp mod modNotesTx">
        <pc:chgData name="Batuhan Yildiz" userId="90f344fc-4655-4923-aeaf-697bba59c1a7" providerId="ADAL" clId="{BE881843-838A-4FE4-8BD1-6A58786358E3}" dt="2020-04-06T16:19:32.469" v="119"/>
        <pc:sldMkLst>
          <pc:docMk/>
          <pc:sldMk cId="1487953619" sldId="574"/>
        </pc:sldMkLst>
        <pc:spChg chg="mod">
          <ac:chgData name="Batuhan Yildiz" userId="90f344fc-4655-4923-aeaf-697bba59c1a7" providerId="ADAL" clId="{BE881843-838A-4FE4-8BD1-6A58786358E3}" dt="2020-04-03T22:37:50.833" v="73" actId="113"/>
          <ac:spMkLst>
            <pc:docMk/>
            <pc:sldMk cId="1487953619" sldId="574"/>
            <ac:spMk id="6" creationId="{637E159C-9ACF-48AE-927A-D5FB13695C7F}"/>
          </ac:spMkLst>
        </pc:spChg>
      </pc:sldChg>
      <pc:sldChg chg="modNotesTx">
        <pc:chgData name="Batuhan Yildiz" userId="90f344fc-4655-4923-aeaf-697bba59c1a7" providerId="ADAL" clId="{BE881843-838A-4FE4-8BD1-6A58786358E3}" dt="2020-04-06T16:19:56.299" v="123" actId="20577"/>
        <pc:sldMkLst>
          <pc:docMk/>
          <pc:sldMk cId="3563492871" sldId="575"/>
        </pc:sldMkLst>
      </pc:sldChg>
      <pc:sldChg chg="modSp mod modNotesTx">
        <pc:chgData name="Batuhan Yildiz" userId="90f344fc-4655-4923-aeaf-697bba59c1a7" providerId="ADAL" clId="{BE881843-838A-4FE4-8BD1-6A58786358E3}" dt="2020-04-06T16:21:04.976" v="129"/>
        <pc:sldMkLst>
          <pc:docMk/>
          <pc:sldMk cId="3006523152" sldId="581"/>
        </pc:sldMkLst>
        <pc:spChg chg="mod">
          <ac:chgData name="Batuhan Yildiz" userId="90f344fc-4655-4923-aeaf-697bba59c1a7" providerId="ADAL" clId="{BE881843-838A-4FE4-8BD1-6A58786358E3}" dt="2020-04-03T22:57:45.309" v="96" actId="113"/>
          <ac:spMkLst>
            <pc:docMk/>
            <pc:sldMk cId="3006523152" sldId="581"/>
            <ac:spMk id="6" creationId="{637E159C-9ACF-48AE-927A-D5FB13695C7F}"/>
          </ac:spMkLst>
        </pc:spChg>
      </pc:sldChg>
      <pc:sldChg chg="modNotesTx">
        <pc:chgData name="Batuhan Yildiz" userId="90f344fc-4655-4923-aeaf-697bba59c1a7" providerId="ADAL" clId="{BE881843-838A-4FE4-8BD1-6A58786358E3}" dt="2020-04-06T16:21:31.858" v="135" actId="20577"/>
        <pc:sldMkLst>
          <pc:docMk/>
          <pc:sldMk cId="1528516655" sldId="582"/>
        </pc:sldMkLst>
      </pc:sldChg>
    </pc:docChg>
  </pc:docChgLst>
  <pc:docChgLst>
    <pc:chgData name="Daniel Valero" userId="31dd2ff7-9a08-462f-9096-6c487a317220" providerId="ADAL" clId="{E3A37A5D-BCC8-40BA-B9FE-E25EAACD2C53}"/>
    <pc:docChg chg="custSel modSld">
      <pc:chgData name="Daniel Valero" userId="31dd2ff7-9a08-462f-9096-6c487a317220" providerId="ADAL" clId="{E3A37A5D-BCC8-40BA-B9FE-E25EAACD2C53}" dt="2020-03-06T22:29:39.250" v="706" actId="20577"/>
      <pc:docMkLst>
        <pc:docMk/>
      </pc:docMkLst>
      <pc:sldChg chg="modSp modNotesTx">
        <pc:chgData name="Daniel Valero" userId="31dd2ff7-9a08-462f-9096-6c487a317220" providerId="ADAL" clId="{E3A37A5D-BCC8-40BA-B9FE-E25EAACD2C53}" dt="2020-03-06T22:29:39.250" v="706" actId="20577"/>
        <pc:sldMkLst>
          <pc:docMk/>
          <pc:sldMk cId="2444463328" sldId="584"/>
        </pc:sldMkLst>
        <pc:graphicFrameChg chg="mod">
          <ac:chgData name="Daniel Valero" userId="31dd2ff7-9a08-462f-9096-6c487a317220" providerId="ADAL" clId="{E3A37A5D-BCC8-40BA-B9FE-E25EAACD2C53}" dt="2020-03-06T22:29:30.187" v="692" actId="108"/>
          <ac:graphicFrameMkLst>
            <pc:docMk/>
            <pc:sldMk cId="2444463328" sldId="584"/>
            <ac:graphicFrameMk id="3" creationId="{9484E1FE-7534-495E-863C-657A46F5E628}"/>
          </ac:graphicFrameMkLst>
        </pc:graphicFrameChg>
      </pc:sldChg>
    </pc:docChg>
  </pc:docChgLst>
  <pc:docChgLst>
    <pc:chgData name="Batuhan Yildiz" userId="90f344fc-4655-4923-aeaf-697bba59c1a7" providerId="ADAL" clId="{87DB180F-4425-42B0-B965-9D8AA7885E90}"/>
    <pc:docChg chg="modSld">
      <pc:chgData name="Batuhan Yildiz" userId="90f344fc-4655-4923-aeaf-697bba59c1a7" providerId="ADAL" clId="{87DB180F-4425-42B0-B965-9D8AA7885E90}" dt="2020-05-20T21:38:33.996" v="3" actId="20577"/>
      <pc:docMkLst>
        <pc:docMk/>
      </pc:docMkLst>
      <pc:sldChg chg="modNotesTx">
        <pc:chgData name="Batuhan Yildiz" userId="90f344fc-4655-4923-aeaf-697bba59c1a7" providerId="ADAL" clId="{87DB180F-4425-42B0-B965-9D8AA7885E90}" dt="2020-05-20T21:38:33.996" v="3" actId="20577"/>
        <pc:sldMkLst>
          <pc:docMk/>
          <pc:sldMk cId="3363990098" sldId="623"/>
        </pc:sldMkLst>
      </pc:sldChg>
    </pc:docChg>
  </pc:docChgLst>
  <pc:docChgLst>
    <pc:chgData name="Daniel Valero" userId="31dd2ff7-9a08-462f-9096-6c487a317220" providerId="ADAL" clId="{98459006-41D5-49D9-BF27-3385987949AA}"/>
    <pc:docChg chg="undo redo custSel addSld delSld modSld sldOrd modSection">
      <pc:chgData name="Daniel Valero" userId="31dd2ff7-9a08-462f-9096-6c487a317220" providerId="ADAL" clId="{98459006-41D5-49D9-BF27-3385987949AA}" dt="2020-02-26T22:17:22.521" v="836" actId="14100"/>
      <pc:docMkLst>
        <pc:docMk/>
      </pc:docMkLst>
      <pc:sldChg chg="modSp mod">
        <pc:chgData name="Daniel Valero" userId="31dd2ff7-9a08-462f-9096-6c487a317220" providerId="ADAL" clId="{98459006-41D5-49D9-BF27-3385987949AA}" dt="2020-02-26T22:14:03.752" v="815" actId="14100"/>
        <pc:sldMkLst>
          <pc:docMk/>
          <pc:sldMk cId="4221783869" sldId="566"/>
        </pc:sldMkLst>
        <pc:graphicFrameChg chg="mod">
          <ac:chgData name="Daniel Valero" userId="31dd2ff7-9a08-462f-9096-6c487a317220" providerId="ADAL" clId="{98459006-41D5-49D9-BF27-3385987949AA}" dt="2020-02-26T22:14:03.752" v="815" actId="14100"/>
          <ac:graphicFrameMkLst>
            <pc:docMk/>
            <pc:sldMk cId="4221783869" sldId="566"/>
            <ac:graphicFrameMk id="9" creationId="{C7E54BA4-B9D5-4384-9A0F-2BBF5913642C}"/>
          </ac:graphicFrameMkLst>
        </pc:graphicFrameChg>
      </pc:sldChg>
      <pc:sldChg chg="addSp delSp modSp mod delAnim modAnim modNotesTx">
        <pc:chgData name="Daniel Valero" userId="31dd2ff7-9a08-462f-9096-6c487a317220" providerId="ADAL" clId="{98459006-41D5-49D9-BF27-3385987949AA}" dt="2020-02-26T22:13:33.844" v="813" actId="790"/>
        <pc:sldMkLst>
          <pc:docMk/>
          <pc:sldMk cId="2735926192" sldId="604"/>
        </pc:sldMkLst>
        <pc:spChg chg="del mod">
          <ac:chgData name="Daniel Valero" userId="31dd2ff7-9a08-462f-9096-6c487a317220" providerId="ADAL" clId="{98459006-41D5-49D9-BF27-3385987949AA}" dt="2020-02-26T22:10:42.427" v="711" actId="478"/>
          <ac:spMkLst>
            <pc:docMk/>
            <pc:sldMk cId="2735926192" sldId="604"/>
            <ac:spMk id="4" creationId="{F3616A99-090F-45E1-9334-58D58B148205}"/>
          </ac:spMkLst>
        </pc:spChg>
        <pc:spChg chg="add del mod">
          <ac:chgData name="Daniel Valero" userId="31dd2ff7-9a08-462f-9096-6c487a317220" providerId="ADAL" clId="{98459006-41D5-49D9-BF27-3385987949AA}" dt="2020-02-26T22:10:47.266" v="712" actId="478"/>
          <ac:spMkLst>
            <pc:docMk/>
            <pc:sldMk cId="2735926192" sldId="604"/>
            <ac:spMk id="11" creationId="{281DA40E-7ECE-4595-93E8-041AD41184A7}"/>
          </ac:spMkLst>
        </pc:spChg>
        <pc:spChg chg="mod">
          <ac:chgData name="Daniel Valero" userId="31dd2ff7-9a08-462f-9096-6c487a317220" providerId="ADAL" clId="{98459006-41D5-49D9-BF27-3385987949AA}" dt="2020-02-26T22:10:09.576" v="706" actId="164"/>
          <ac:spMkLst>
            <pc:docMk/>
            <pc:sldMk cId="2735926192" sldId="604"/>
            <ac:spMk id="13" creationId="{5B7DF837-0C24-42B8-928B-750588EBDEC9}"/>
          </ac:spMkLst>
        </pc:spChg>
        <pc:spChg chg="mod">
          <ac:chgData name="Daniel Valero" userId="31dd2ff7-9a08-462f-9096-6c487a317220" providerId="ADAL" clId="{98459006-41D5-49D9-BF27-3385987949AA}" dt="2020-02-26T22:10:15.088" v="707" actId="164"/>
          <ac:spMkLst>
            <pc:docMk/>
            <pc:sldMk cId="2735926192" sldId="604"/>
            <ac:spMk id="14" creationId="{AC33A00B-92E8-4F4A-A59B-2167D150465F}"/>
          </ac:spMkLst>
        </pc:spChg>
        <pc:spChg chg="mod">
          <ac:chgData name="Daniel Valero" userId="31dd2ff7-9a08-462f-9096-6c487a317220" providerId="ADAL" clId="{98459006-41D5-49D9-BF27-3385987949AA}" dt="2020-02-26T22:11:37.893" v="737" actId="164"/>
          <ac:spMkLst>
            <pc:docMk/>
            <pc:sldMk cId="2735926192" sldId="604"/>
            <ac:spMk id="15" creationId="{F6B21E68-22ED-42CE-A607-124E6FC9E037}"/>
          </ac:spMkLst>
        </pc:spChg>
        <pc:spChg chg="mod">
          <ac:chgData name="Daniel Valero" userId="31dd2ff7-9a08-462f-9096-6c487a317220" providerId="ADAL" clId="{98459006-41D5-49D9-BF27-3385987949AA}" dt="2020-02-26T22:11:41.859" v="738" actId="164"/>
          <ac:spMkLst>
            <pc:docMk/>
            <pc:sldMk cId="2735926192" sldId="604"/>
            <ac:spMk id="16" creationId="{EB1BF4A3-52C8-480D-8FED-F6FF4CAC78E8}"/>
          </ac:spMkLst>
        </pc:spChg>
        <pc:spChg chg="mod">
          <ac:chgData name="Daniel Valero" userId="31dd2ff7-9a08-462f-9096-6c487a317220" providerId="ADAL" clId="{98459006-41D5-49D9-BF27-3385987949AA}" dt="2020-02-26T22:10:30.857" v="709" actId="164"/>
          <ac:spMkLst>
            <pc:docMk/>
            <pc:sldMk cId="2735926192" sldId="604"/>
            <ac:spMk id="17" creationId="{7FFB5D7E-C651-4E65-A76B-C48470F09858}"/>
          </ac:spMkLst>
        </pc:spChg>
        <pc:spChg chg="mod">
          <ac:chgData name="Daniel Valero" userId="31dd2ff7-9a08-462f-9096-6c487a317220" providerId="ADAL" clId="{98459006-41D5-49D9-BF27-3385987949AA}" dt="2020-02-26T22:10:26.828" v="708" actId="164"/>
          <ac:spMkLst>
            <pc:docMk/>
            <pc:sldMk cId="2735926192" sldId="604"/>
            <ac:spMk id="18" creationId="{B04BB3DC-29AA-456A-AB33-D415DFC9D159}"/>
          </ac:spMkLst>
        </pc:spChg>
        <pc:spChg chg="mod">
          <ac:chgData name="Daniel Valero" userId="31dd2ff7-9a08-462f-9096-6c487a317220" providerId="ADAL" clId="{98459006-41D5-49D9-BF27-3385987949AA}" dt="2020-02-26T22:10:34.848" v="710" actId="164"/>
          <ac:spMkLst>
            <pc:docMk/>
            <pc:sldMk cId="2735926192" sldId="604"/>
            <ac:spMk id="20" creationId="{C321B790-A42B-4615-8886-FB1C9171170D}"/>
          </ac:spMkLst>
        </pc:spChg>
        <pc:spChg chg="mod">
          <ac:chgData name="Daniel Valero" userId="31dd2ff7-9a08-462f-9096-6c487a317220" providerId="ADAL" clId="{98459006-41D5-49D9-BF27-3385987949AA}" dt="2020-02-26T22:11:45.036" v="739" actId="164"/>
          <ac:spMkLst>
            <pc:docMk/>
            <pc:sldMk cId="2735926192" sldId="604"/>
            <ac:spMk id="22" creationId="{64A2DB2D-2637-4A54-9C7F-F159894633E7}"/>
          </ac:spMkLst>
        </pc:spChg>
        <pc:spChg chg="mod">
          <ac:chgData name="Daniel Valero" userId="31dd2ff7-9a08-462f-9096-6c487a317220" providerId="ADAL" clId="{98459006-41D5-49D9-BF27-3385987949AA}" dt="2020-02-26T22:11:47.840" v="740" actId="164"/>
          <ac:spMkLst>
            <pc:docMk/>
            <pc:sldMk cId="2735926192" sldId="604"/>
            <ac:spMk id="31" creationId="{97CF827F-3129-4966-941B-B55A2806656C}"/>
          </ac:spMkLst>
        </pc:spChg>
        <pc:spChg chg="mod">
          <ac:chgData name="Daniel Valero" userId="31dd2ff7-9a08-462f-9096-6c487a317220" providerId="ADAL" clId="{98459006-41D5-49D9-BF27-3385987949AA}" dt="2020-02-26T22:11:53.944" v="741" actId="164"/>
          <ac:spMkLst>
            <pc:docMk/>
            <pc:sldMk cId="2735926192" sldId="604"/>
            <ac:spMk id="32" creationId="{D86B479E-C635-4BC1-A62C-461B394A5888}"/>
          </ac:spMkLst>
        </pc:spChg>
        <pc:spChg chg="mod">
          <ac:chgData name="Daniel Valero" userId="31dd2ff7-9a08-462f-9096-6c487a317220" providerId="ADAL" clId="{98459006-41D5-49D9-BF27-3385987949AA}" dt="2020-02-26T22:11:58.320" v="742" actId="164"/>
          <ac:spMkLst>
            <pc:docMk/>
            <pc:sldMk cId="2735926192" sldId="604"/>
            <ac:spMk id="33" creationId="{0DAC354D-F668-4AD1-BB17-9233443A4DC2}"/>
          </ac:spMkLst>
        </pc:spChg>
        <pc:spChg chg="add mod">
          <ac:chgData name="Daniel Valero" userId="31dd2ff7-9a08-462f-9096-6c487a317220" providerId="ADAL" clId="{98459006-41D5-49D9-BF27-3385987949AA}" dt="2020-02-26T22:11:11.812" v="733" actId="164"/>
          <ac:spMkLst>
            <pc:docMk/>
            <pc:sldMk cId="2735926192" sldId="604"/>
            <ac:spMk id="36" creationId="{6E8E5B06-2C01-4810-9941-2A322AE0F461}"/>
          </ac:spMkLst>
        </pc:spChg>
        <pc:grpChg chg="add mod">
          <ac:chgData name="Daniel Valero" userId="31dd2ff7-9a08-462f-9096-6c487a317220" providerId="ADAL" clId="{98459006-41D5-49D9-BF27-3385987949AA}" dt="2020-02-26T22:11:27.327" v="736" actId="465"/>
          <ac:grpSpMkLst>
            <pc:docMk/>
            <pc:sldMk cId="2735926192" sldId="604"/>
            <ac:grpSpMk id="5" creationId="{F0F7112D-E24F-4DBA-868D-469D58FB6FF7}"/>
          </ac:grpSpMkLst>
        </pc:grpChg>
        <pc:grpChg chg="add mod">
          <ac:chgData name="Daniel Valero" userId="31dd2ff7-9a08-462f-9096-6c487a317220" providerId="ADAL" clId="{98459006-41D5-49D9-BF27-3385987949AA}" dt="2020-02-26T22:11:27.327" v="736" actId="465"/>
          <ac:grpSpMkLst>
            <pc:docMk/>
            <pc:sldMk cId="2735926192" sldId="604"/>
            <ac:grpSpMk id="6" creationId="{CB3B7B55-5EE0-4DF8-A73E-B16A3A8389DF}"/>
          </ac:grpSpMkLst>
        </pc:grpChg>
        <pc:grpChg chg="add mod">
          <ac:chgData name="Daniel Valero" userId="31dd2ff7-9a08-462f-9096-6c487a317220" providerId="ADAL" clId="{98459006-41D5-49D9-BF27-3385987949AA}" dt="2020-02-26T22:11:27.327" v="736" actId="465"/>
          <ac:grpSpMkLst>
            <pc:docMk/>
            <pc:sldMk cId="2735926192" sldId="604"/>
            <ac:grpSpMk id="7" creationId="{8ED64774-DC35-43D4-8EFB-E164F814D55D}"/>
          </ac:grpSpMkLst>
        </pc:grpChg>
        <pc:grpChg chg="add mod">
          <ac:chgData name="Daniel Valero" userId="31dd2ff7-9a08-462f-9096-6c487a317220" providerId="ADAL" clId="{98459006-41D5-49D9-BF27-3385987949AA}" dt="2020-02-26T22:11:27.327" v="736" actId="465"/>
          <ac:grpSpMkLst>
            <pc:docMk/>
            <pc:sldMk cId="2735926192" sldId="604"/>
            <ac:grpSpMk id="8" creationId="{6AF95612-581F-407E-9087-9BB8A0426C40}"/>
          </ac:grpSpMkLst>
        </pc:grpChg>
        <pc:grpChg chg="add mod">
          <ac:chgData name="Daniel Valero" userId="31dd2ff7-9a08-462f-9096-6c487a317220" providerId="ADAL" clId="{98459006-41D5-49D9-BF27-3385987949AA}" dt="2020-02-26T22:11:27.327" v="736" actId="465"/>
          <ac:grpSpMkLst>
            <pc:docMk/>
            <pc:sldMk cId="2735926192" sldId="604"/>
            <ac:grpSpMk id="9" creationId="{267C3E52-AD07-43A7-982B-271DF45D09BA}"/>
          </ac:grpSpMkLst>
        </pc:grpChg>
        <pc:grpChg chg="add mod">
          <ac:chgData name="Daniel Valero" userId="31dd2ff7-9a08-462f-9096-6c487a317220" providerId="ADAL" clId="{98459006-41D5-49D9-BF27-3385987949AA}" dt="2020-02-26T22:11:27.327" v="736" actId="465"/>
          <ac:grpSpMkLst>
            <pc:docMk/>
            <pc:sldMk cId="2735926192" sldId="604"/>
            <ac:grpSpMk id="12" creationId="{C411CC39-74E5-4A7E-B112-4EC0D85D1F2F}"/>
          </ac:grpSpMkLst>
        </pc:grpChg>
        <pc:grpChg chg="add mod">
          <ac:chgData name="Daniel Valero" userId="31dd2ff7-9a08-462f-9096-6c487a317220" providerId="ADAL" clId="{98459006-41D5-49D9-BF27-3385987949AA}" dt="2020-02-26T22:12:24.512" v="745" actId="465"/>
          <ac:grpSpMkLst>
            <pc:docMk/>
            <pc:sldMk cId="2735926192" sldId="604"/>
            <ac:grpSpMk id="19" creationId="{1EDC6FEC-D99A-4BA5-AB1F-9D39AEA57B40}"/>
          </ac:grpSpMkLst>
        </pc:grpChg>
        <pc:grpChg chg="add mod">
          <ac:chgData name="Daniel Valero" userId="31dd2ff7-9a08-462f-9096-6c487a317220" providerId="ADAL" clId="{98459006-41D5-49D9-BF27-3385987949AA}" dt="2020-02-26T22:12:24.512" v="745" actId="465"/>
          <ac:grpSpMkLst>
            <pc:docMk/>
            <pc:sldMk cId="2735926192" sldId="604"/>
            <ac:grpSpMk id="21" creationId="{6CF57884-447D-4649-989B-ECF9230514EA}"/>
          </ac:grpSpMkLst>
        </pc:grpChg>
        <pc:grpChg chg="add mod">
          <ac:chgData name="Daniel Valero" userId="31dd2ff7-9a08-462f-9096-6c487a317220" providerId="ADAL" clId="{98459006-41D5-49D9-BF27-3385987949AA}" dt="2020-02-26T22:12:24.512" v="745" actId="465"/>
          <ac:grpSpMkLst>
            <pc:docMk/>
            <pc:sldMk cId="2735926192" sldId="604"/>
            <ac:grpSpMk id="23" creationId="{3F9E4E81-2B8D-4177-8648-201099D80467}"/>
          </ac:grpSpMkLst>
        </pc:grpChg>
        <pc:grpChg chg="add mod">
          <ac:chgData name="Daniel Valero" userId="31dd2ff7-9a08-462f-9096-6c487a317220" providerId="ADAL" clId="{98459006-41D5-49D9-BF27-3385987949AA}" dt="2020-02-26T22:12:24.512" v="745" actId="465"/>
          <ac:grpSpMkLst>
            <pc:docMk/>
            <pc:sldMk cId="2735926192" sldId="604"/>
            <ac:grpSpMk id="24" creationId="{88485792-F2D9-461E-AA27-50A159161417}"/>
          </ac:grpSpMkLst>
        </pc:grpChg>
        <pc:grpChg chg="add mod">
          <ac:chgData name="Daniel Valero" userId="31dd2ff7-9a08-462f-9096-6c487a317220" providerId="ADAL" clId="{98459006-41D5-49D9-BF27-3385987949AA}" dt="2020-02-26T22:12:24.512" v="745" actId="465"/>
          <ac:grpSpMkLst>
            <pc:docMk/>
            <pc:sldMk cId="2735926192" sldId="604"/>
            <ac:grpSpMk id="26" creationId="{D6472D49-011D-4162-8EEB-A9AC9FDD76A7}"/>
          </ac:grpSpMkLst>
        </pc:grpChg>
        <pc:grpChg chg="add mod">
          <ac:chgData name="Daniel Valero" userId="31dd2ff7-9a08-462f-9096-6c487a317220" providerId="ADAL" clId="{98459006-41D5-49D9-BF27-3385987949AA}" dt="2020-02-26T22:12:24.512" v="745" actId="465"/>
          <ac:grpSpMkLst>
            <pc:docMk/>
            <pc:sldMk cId="2735926192" sldId="604"/>
            <ac:grpSpMk id="30" creationId="{9EDF4A98-445D-4F83-9960-16985F28727D}"/>
          </ac:grpSpMkLst>
        </pc:grpChg>
        <pc:picChg chg="mod">
          <ac:chgData name="Daniel Valero" userId="31dd2ff7-9a08-462f-9096-6c487a317220" providerId="ADAL" clId="{98459006-41D5-49D9-BF27-3385987949AA}" dt="2020-02-26T22:11:53.944" v="741" actId="164"/>
          <ac:picMkLst>
            <pc:docMk/>
            <pc:sldMk cId="2735926192" sldId="604"/>
            <ac:picMk id="27" creationId="{40BDF551-8402-419C-AED0-07EA668E260D}"/>
          </ac:picMkLst>
        </pc:picChg>
        <pc:picChg chg="mod">
          <ac:chgData name="Daniel Valero" userId="31dd2ff7-9a08-462f-9096-6c487a317220" providerId="ADAL" clId="{98459006-41D5-49D9-BF27-3385987949AA}" dt="2020-02-26T22:11:47.840" v="740" actId="164"/>
          <ac:picMkLst>
            <pc:docMk/>
            <pc:sldMk cId="2735926192" sldId="604"/>
            <ac:picMk id="28" creationId="{E3E71F0F-1328-4B9B-B339-5F62F7307EE0}"/>
          </ac:picMkLst>
        </pc:picChg>
        <pc:picChg chg="mod">
          <ac:chgData name="Daniel Valero" userId="31dd2ff7-9a08-462f-9096-6c487a317220" providerId="ADAL" clId="{98459006-41D5-49D9-BF27-3385987949AA}" dt="2020-02-26T22:11:58.320" v="742" actId="164"/>
          <ac:picMkLst>
            <pc:docMk/>
            <pc:sldMk cId="2735926192" sldId="604"/>
            <ac:picMk id="29" creationId="{78457F7F-6403-4D74-B33C-984EBB69A751}"/>
          </ac:picMkLst>
        </pc:picChg>
        <pc:picChg chg="mod">
          <ac:chgData name="Daniel Valero" userId="31dd2ff7-9a08-462f-9096-6c487a317220" providerId="ADAL" clId="{98459006-41D5-49D9-BF27-3385987949AA}" dt="2020-02-26T22:10:09.576" v="706" actId="164"/>
          <ac:picMkLst>
            <pc:docMk/>
            <pc:sldMk cId="2735926192" sldId="604"/>
            <ac:picMk id="1028" creationId="{11D2FFA8-8159-4269-AABB-26626E73E9B9}"/>
          </ac:picMkLst>
        </pc:picChg>
        <pc:picChg chg="mod">
          <ac:chgData name="Daniel Valero" userId="31dd2ff7-9a08-462f-9096-6c487a317220" providerId="ADAL" clId="{98459006-41D5-49D9-BF27-3385987949AA}" dt="2020-02-26T22:10:15.088" v="707" actId="164"/>
          <ac:picMkLst>
            <pc:docMk/>
            <pc:sldMk cId="2735926192" sldId="604"/>
            <ac:picMk id="1030" creationId="{04594F46-8518-4FF4-B53B-6C810780F989}"/>
          </ac:picMkLst>
        </pc:picChg>
        <pc:picChg chg="mod">
          <ac:chgData name="Daniel Valero" userId="31dd2ff7-9a08-462f-9096-6c487a317220" providerId="ADAL" clId="{98459006-41D5-49D9-BF27-3385987949AA}" dt="2020-02-26T22:11:11.812" v="733" actId="164"/>
          <ac:picMkLst>
            <pc:docMk/>
            <pc:sldMk cId="2735926192" sldId="604"/>
            <ac:picMk id="1032" creationId="{F14E48FE-3B7E-41F9-A032-9F3CCB6F2ABB}"/>
          </ac:picMkLst>
        </pc:picChg>
        <pc:picChg chg="mod">
          <ac:chgData name="Daniel Valero" userId="31dd2ff7-9a08-462f-9096-6c487a317220" providerId="ADAL" clId="{98459006-41D5-49D9-BF27-3385987949AA}" dt="2020-02-26T22:11:37.893" v="737" actId="164"/>
          <ac:picMkLst>
            <pc:docMk/>
            <pc:sldMk cId="2735926192" sldId="604"/>
            <ac:picMk id="1034" creationId="{3E5C0A35-5AF5-4C72-B87A-845C0D7820C8}"/>
          </ac:picMkLst>
        </pc:picChg>
        <pc:picChg chg="mod">
          <ac:chgData name="Daniel Valero" userId="31dd2ff7-9a08-462f-9096-6c487a317220" providerId="ADAL" clId="{98459006-41D5-49D9-BF27-3385987949AA}" dt="2020-02-26T22:11:41.859" v="738" actId="164"/>
          <ac:picMkLst>
            <pc:docMk/>
            <pc:sldMk cId="2735926192" sldId="604"/>
            <ac:picMk id="1036" creationId="{A33C7D66-DC83-4F8A-A617-968722957AF5}"/>
          </ac:picMkLst>
        </pc:picChg>
        <pc:picChg chg="mod">
          <ac:chgData name="Daniel Valero" userId="31dd2ff7-9a08-462f-9096-6c487a317220" providerId="ADAL" clId="{98459006-41D5-49D9-BF27-3385987949AA}" dt="2020-02-26T22:10:26.828" v="708" actId="164"/>
          <ac:picMkLst>
            <pc:docMk/>
            <pc:sldMk cId="2735926192" sldId="604"/>
            <ac:picMk id="1038" creationId="{5C5E6286-5839-4D81-940B-CB68A66B6595}"/>
          </ac:picMkLst>
        </pc:picChg>
        <pc:picChg chg="mod">
          <ac:chgData name="Daniel Valero" userId="31dd2ff7-9a08-462f-9096-6c487a317220" providerId="ADAL" clId="{98459006-41D5-49D9-BF27-3385987949AA}" dt="2020-02-26T22:10:30.857" v="709" actId="164"/>
          <ac:picMkLst>
            <pc:docMk/>
            <pc:sldMk cId="2735926192" sldId="604"/>
            <ac:picMk id="1040" creationId="{55E7F75A-ED40-422A-977C-74663B0616D8}"/>
          </ac:picMkLst>
        </pc:picChg>
        <pc:picChg chg="mod">
          <ac:chgData name="Daniel Valero" userId="31dd2ff7-9a08-462f-9096-6c487a317220" providerId="ADAL" clId="{98459006-41D5-49D9-BF27-3385987949AA}" dt="2020-02-26T22:10:34.848" v="710" actId="164"/>
          <ac:picMkLst>
            <pc:docMk/>
            <pc:sldMk cId="2735926192" sldId="604"/>
            <ac:picMk id="1042" creationId="{A0B91962-D37F-450E-83EC-BEE4BF8D06B6}"/>
          </ac:picMkLst>
        </pc:picChg>
        <pc:picChg chg="mod">
          <ac:chgData name="Daniel Valero" userId="31dd2ff7-9a08-462f-9096-6c487a317220" providerId="ADAL" clId="{98459006-41D5-49D9-BF27-3385987949AA}" dt="2020-02-26T22:11:45.036" v="739" actId="164"/>
          <ac:picMkLst>
            <pc:docMk/>
            <pc:sldMk cId="2735926192" sldId="604"/>
            <ac:picMk id="1044" creationId="{2F608A90-F0A6-48F7-9B94-BDEB28F2AD01}"/>
          </ac:picMkLst>
        </pc:picChg>
      </pc:sldChg>
      <pc:sldChg chg="modSp">
        <pc:chgData name="Daniel Valero" userId="31dd2ff7-9a08-462f-9096-6c487a317220" providerId="ADAL" clId="{98459006-41D5-49D9-BF27-3385987949AA}" dt="2020-02-26T21:41:01.282" v="443"/>
        <pc:sldMkLst>
          <pc:docMk/>
          <pc:sldMk cId="2024360696" sldId="627"/>
        </pc:sldMkLst>
        <pc:spChg chg="mod">
          <ac:chgData name="Daniel Valero" userId="31dd2ff7-9a08-462f-9096-6c487a317220" providerId="ADAL" clId="{98459006-41D5-49D9-BF27-3385987949AA}" dt="2020-02-26T21:41:01.282" v="443"/>
          <ac:spMkLst>
            <pc:docMk/>
            <pc:sldMk cId="2024360696" sldId="627"/>
            <ac:spMk id="4" creationId="{F3616A99-090F-45E1-9334-58D58B148205}"/>
          </ac:spMkLst>
        </pc:spChg>
      </pc:sldChg>
      <pc:sldChg chg="modSp mod">
        <pc:chgData name="Daniel Valero" userId="31dd2ff7-9a08-462f-9096-6c487a317220" providerId="ADAL" clId="{98459006-41D5-49D9-BF27-3385987949AA}" dt="2020-02-26T22:17:22.521" v="836" actId="14100"/>
        <pc:sldMkLst>
          <pc:docMk/>
          <pc:sldMk cId="1732971809" sldId="631"/>
        </pc:sldMkLst>
        <pc:graphicFrameChg chg="mod">
          <ac:chgData name="Daniel Valero" userId="31dd2ff7-9a08-462f-9096-6c487a317220" providerId="ADAL" clId="{98459006-41D5-49D9-BF27-3385987949AA}" dt="2020-02-26T22:17:22.521" v="836" actId="14100"/>
          <ac:graphicFrameMkLst>
            <pc:docMk/>
            <pc:sldMk cId="1732971809" sldId="631"/>
            <ac:graphicFrameMk id="5" creationId="{4B6F0E6F-291B-46F9-BE67-DC7BF90065BB}"/>
          </ac:graphicFrameMkLst>
        </pc:graphicFrameChg>
      </pc:sldChg>
      <pc:sldChg chg="modSp mod">
        <pc:chgData name="Daniel Valero" userId="31dd2ff7-9a08-462f-9096-6c487a317220" providerId="ADAL" clId="{98459006-41D5-49D9-BF27-3385987949AA}" dt="2020-02-26T21:46:58.447" v="611" actId="6549"/>
        <pc:sldMkLst>
          <pc:docMk/>
          <pc:sldMk cId="1566102222" sldId="634"/>
        </pc:sldMkLst>
        <pc:spChg chg="mod">
          <ac:chgData name="Daniel Valero" userId="31dd2ff7-9a08-462f-9096-6c487a317220" providerId="ADAL" clId="{98459006-41D5-49D9-BF27-3385987949AA}" dt="2020-02-26T21:46:58.447" v="611" actId="6549"/>
          <ac:spMkLst>
            <pc:docMk/>
            <pc:sldMk cId="1566102222" sldId="634"/>
            <ac:spMk id="4" creationId="{F3616A99-090F-45E1-9334-58D58B148205}"/>
          </ac:spMkLst>
        </pc:spChg>
        <pc:spChg chg="mod">
          <ac:chgData name="Daniel Valero" userId="31dd2ff7-9a08-462f-9096-6c487a317220" providerId="ADAL" clId="{98459006-41D5-49D9-BF27-3385987949AA}" dt="2020-02-26T21:43:48.426" v="564" actId="1076"/>
          <ac:spMkLst>
            <pc:docMk/>
            <pc:sldMk cId="1566102222" sldId="634"/>
            <ac:spMk id="6" creationId="{F8842B6B-AD6C-401F-904D-7A4A505688DB}"/>
          </ac:spMkLst>
        </pc:spChg>
        <pc:spChg chg="mod">
          <ac:chgData name="Daniel Valero" userId="31dd2ff7-9a08-462f-9096-6c487a317220" providerId="ADAL" clId="{98459006-41D5-49D9-BF27-3385987949AA}" dt="2020-02-26T21:43:50.484" v="565" actId="1076"/>
          <ac:spMkLst>
            <pc:docMk/>
            <pc:sldMk cId="1566102222" sldId="634"/>
            <ac:spMk id="8" creationId="{63B9B722-F161-4DC3-9B99-6703E07B34E0}"/>
          </ac:spMkLst>
        </pc:spChg>
        <pc:spChg chg="mod">
          <ac:chgData name="Daniel Valero" userId="31dd2ff7-9a08-462f-9096-6c487a317220" providerId="ADAL" clId="{98459006-41D5-49D9-BF27-3385987949AA}" dt="2020-02-26T21:43:53.908" v="566" actId="1076"/>
          <ac:spMkLst>
            <pc:docMk/>
            <pc:sldMk cId="1566102222" sldId="634"/>
            <ac:spMk id="9" creationId="{C1C8E9F5-5846-45F0-9E02-D14844D69038}"/>
          </ac:spMkLst>
        </pc:spChg>
        <pc:spChg chg="mod">
          <ac:chgData name="Daniel Valero" userId="31dd2ff7-9a08-462f-9096-6c487a317220" providerId="ADAL" clId="{98459006-41D5-49D9-BF27-3385987949AA}" dt="2020-02-26T21:42:28.596" v="454" actId="20577"/>
          <ac:spMkLst>
            <pc:docMk/>
            <pc:sldMk cId="1566102222" sldId="634"/>
            <ac:spMk id="11" creationId="{FFAAFCAB-7AC9-4807-ACDA-4668ED10F3AF}"/>
          </ac:spMkLst>
        </pc:spChg>
      </pc:sldChg>
      <pc:sldChg chg="modSp mod">
        <pc:chgData name="Daniel Valero" userId="31dd2ff7-9a08-462f-9096-6c487a317220" providerId="ADAL" clId="{98459006-41D5-49D9-BF27-3385987949AA}" dt="2020-02-26T21:50:09.978" v="642"/>
        <pc:sldMkLst>
          <pc:docMk/>
          <pc:sldMk cId="2109418391" sldId="636"/>
        </pc:sldMkLst>
        <pc:spChg chg="mod">
          <ac:chgData name="Daniel Valero" userId="31dd2ff7-9a08-462f-9096-6c487a317220" providerId="ADAL" clId="{98459006-41D5-49D9-BF27-3385987949AA}" dt="2020-02-26T21:47:02.830" v="612" actId="6549"/>
          <ac:spMkLst>
            <pc:docMk/>
            <pc:sldMk cId="2109418391" sldId="636"/>
            <ac:spMk id="4" creationId="{F3616A99-090F-45E1-9334-58D58B148205}"/>
          </ac:spMkLst>
        </pc:spChg>
        <pc:spChg chg="mod">
          <ac:chgData name="Daniel Valero" userId="31dd2ff7-9a08-462f-9096-6c487a317220" providerId="ADAL" clId="{98459006-41D5-49D9-BF27-3385987949AA}" dt="2020-02-26T21:50:08.626" v="641"/>
          <ac:spMkLst>
            <pc:docMk/>
            <pc:sldMk cId="2109418391" sldId="636"/>
            <ac:spMk id="6" creationId="{F8842B6B-AD6C-401F-904D-7A4A505688DB}"/>
          </ac:spMkLst>
        </pc:spChg>
        <pc:spChg chg="mod">
          <ac:chgData name="Daniel Valero" userId="31dd2ff7-9a08-462f-9096-6c487a317220" providerId="ADAL" clId="{98459006-41D5-49D9-BF27-3385987949AA}" dt="2020-02-26T21:50:09.978" v="642"/>
          <ac:spMkLst>
            <pc:docMk/>
            <pc:sldMk cId="2109418391" sldId="636"/>
            <ac:spMk id="8" creationId="{63B9B722-F161-4DC3-9B99-6703E07B34E0}"/>
          </ac:spMkLst>
        </pc:spChg>
        <pc:spChg chg="mod">
          <ac:chgData name="Daniel Valero" userId="31dd2ff7-9a08-462f-9096-6c487a317220" providerId="ADAL" clId="{98459006-41D5-49D9-BF27-3385987949AA}" dt="2020-02-26T21:45:24.191" v="591" actId="1076"/>
          <ac:spMkLst>
            <pc:docMk/>
            <pc:sldMk cId="2109418391" sldId="636"/>
            <ac:spMk id="9" creationId="{C1C8E9F5-5846-45F0-9E02-D14844D69038}"/>
          </ac:spMkLst>
        </pc:spChg>
        <pc:spChg chg="mod">
          <ac:chgData name="Daniel Valero" userId="31dd2ff7-9a08-462f-9096-6c487a317220" providerId="ADAL" clId="{98459006-41D5-49D9-BF27-3385987949AA}" dt="2020-02-26T21:44:02.803" v="569" actId="20577"/>
          <ac:spMkLst>
            <pc:docMk/>
            <pc:sldMk cId="2109418391" sldId="636"/>
            <ac:spMk id="11" creationId="{FFAAFCAB-7AC9-4807-ACDA-4668ED10F3AF}"/>
          </ac:spMkLst>
        </pc:spChg>
      </pc:sldChg>
      <pc:sldChg chg="modSp mod ord">
        <pc:chgData name="Daniel Valero" userId="31dd2ff7-9a08-462f-9096-6c487a317220" providerId="ADAL" clId="{98459006-41D5-49D9-BF27-3385987949AA}" dt="2020-02-26T22:16:02.205" v="819" actId="1076"/>
        <pc:sldMkLst>
          <pc:docMk/>
          <pc:sldMk cId="877878254" sldId="637"/>
        </pc:sldMkLst>
        <pc:spChg chg="mod">
          <ac:chgData name="Daniel Valero" userId="31dd2ff7-9a08-462f-9096-6c487a317220" providerId="ADAL" clId="{98459006-41D5-49D9-BF27-3385987949AA}" dt="2020-02-26T21:44:09.888" v="571" actId="20577"/>
          <ac:spMkLst>
            <pc:docMk/>
            <pc:sldMk cId="877878254" sldId="637"/>
            <ac:spMk id="3" creationId="{F35E8CBB-5A7D-4DEF-BAF7-8DD5D042F9E0}"/>
          </ac:spMkLst>
        </pc:spChg>
        <pc:spChg chg="mod">
          <ac:chgData name="Daniel Valero" userId="31dd2ff7-9a08-462f-9096-6c487a317220" providerId="ADAL" clId="{98459006-41D5-49D9-BF27-3385987949AA}" dt="2020-02-26T22:15:59.208" v="818" actId="6549"/>
          <ac:spMkLst>
            <pc:docMk/>
            <pc:sldMk cId="877878254" sldId="637"/>
            <ac:spMk id="5" creationId="{1AD8A9F0-64D5-48AF-A056-EB187C5F6CEC}"/>
          </ac:spMkLst>
        </pc:spChg>
        <pc:spChg chg="mod">
          <ac:chgData name="Daniel Valero" userId="31dd2ff7-9a08-462f-9096-6c487a317220" providerId="ADAL" clId="{98459006-41D5-49D9-BF27-3385987949AA}" dt="2020-02-26T21:50:47.593" v="655" actId="14100"/>
          <ac:spMkLst>
            <pc:docMk/>
            <pc:sldMk cId="877878254" sldId="637"/>
            <ac:spMk id="6" creationId="{1299D8ED-9125-42F0-BC98-71AC4A50AC72}"/>
          </ac:spMkLst>
        </pc:spChg>
        <pc:spChg chg="mod">
          <ac:chgData name="Daniel Valero" userId="31dd2ff7-9a08-462f-9096-6c487a317220" providerId="ADAL" clId="{98459006-41D5-49D9-BF27-3385987949AA}" dt="2020-02-26T22:15:58.498" v="817" actId="1076"/>
          <ac:spMkLst>
            <pc:docMk/>
            <pc:sldMk cId="877878254" sldId="637"/>
            <ac:spMk id="7" creationId="{35E21671-58AB-46FA-8C84-E2DBA2787BCF}"/>
          </ac:spMkLst>
        </pc:spChg>
        <pc:spChg chg="mod">
          <ac:chgData name="Daniel Valero" userId="31dd2ff7-9a08-462f-9096-6c487a317220" providerId="ADAL" clId="{98459006-41D5-49D9-BF27-3385987949AA}" dt="2020-02-26T22:16:02.205" v="819" actId="1076"/>
          <ac:spMkLst>
            <pc:docMk/>
            <pc:sldMk cId="877878254" sldId="637"/>
            <ac:spMk id="8" creationId="{08AF5E7D-8C05-4C56-84A2-4EDBD776ECBB}"/>
          </ac:spMkLst>
        </pc:spChg>
      </pc:sldChg>
      <pc:sldChg chg="modSp mod">
        <pc:chgData name="Daniel Valero" userId="31dd2ff7-9a08-462f-9096-6c487a317220" providerId="ADAL" clId="{98459006-41D5-49D9-BF27-3385987949AA}" dt="2020-02-26T22:16:13.524" v="822" actId="1076"/>
        <pc:sldMkLst>
          <pc:docMk/>
          <pc:sldMk cId="2014377657" sldId="638"/>
        </pc:sldMkLst>
        <pc:spChg chg="mod">
          <ac:chgData name="Daniel Valero" userId="31dd2ff7-9a08-462f-9096-6c487a317220" providerId="ADAL" clId="{98459006-41D5-49D9-BF27-3385987949AA}" dt="2020-02-26T21:44:13.788" v="575" actId="20577"/>
          <ac:spMkLst>
            <pc:docMk/>
            <pc:sldMk cId="2014377657" sldId="638"/>
            <ac:spMk id="3" creationId="{F35E8CBB-5A7D-4DEF-BAF7-8DD5D042F9E0}"/>
          </ac:spMkLst>
        </pc:spChg>
        <pc:spChg chg="mod">
          <ac:chgData name="Daniel Valero" userId="31dd2ff7-9a08-462f-9096-6c487a317220" providerId="ADAL" clId="{98459006-41D5-49D9-BF27-3385987949AA}" dt="2020-02-26T22:16:07.703" v="820" actId="6549"/>
          <ac:spMkLst>
            <pc:docMk/>
            <pc:sldMk cId="2014377657" sldId="638"/>
            <ac:spMk id="5" creationId="{1AD8A9F0-64D5-48AF-A056-EB187C5F6CEC}"/>
          </ac:spMkLst>
        </pc:spChg>
        <pc:spChg chg="mod">
          <ac:chgData name="Daniel Valero" userId="31dd2ff7-9a08-462f-9096-6c487a317220" providerId="ADAL" clId="{98459006-41D5-49D9-BF27-3385987949AA}" dt="2020-02-26T22:16:11.741" v="821" actId="1076"/>
          <ac:spMkLst>
            <pc:docMk/>
            <pc:sldMk cId="2014377657" sldId="638"/>
            <ac:spMk id="6" creationId="{1299D8ED-9125-42F0-BC98-71AC4A50AC72}"/>
          </ac:spMkLst>
        </pc:spChg>
        <pc:spChg chg="mod">
          <ac:chgData name="Daniel Valero" userId="31dd2ff7-9a08-462f-9096-6c487a317220" providerId="ADAL" clId="{98459006-41D5-49D9-BF27-3385987949AA}" dt="2020-02-26T22:16:13.524" v="822" actId="1076"/>
          <ac:spMkLst>
            <pc:docMk/>
            <pc:sldMk cId="2014377657" sldId="638"/>
            <ac:spMk id="8" creationId="{08AF5E7D-8C05-4C56-84A2-4EDBD776ECBB}"/>
          </ac:spMkLst>
        </pc:spChg>
      </pc:sldChg>
      <pc:sldChg chg="modSp mod">
        <pc:chgData name="Daniel Valero" userId="31dd2ff7-9a08-462f-9096-6c487a317220" providerId="ADAL" clId="{98459006-41D5-49D9-BF27-3385987949AA}" dt="2020-02-26T22:16:27.482" v="825" actId="1076"/>
        <pc:sldMkLst>
          <pc:docMk/>
          <pc:sldMk cId="3484407754" sldId="639"/>
        </pc:sldMkLst>
        <pc:spChg chg="mod">
          <ac:chgData name="Daniel Valero" userId="31dd2ff7-9a08-462f-9096-6c487a317220" providerId="ADAL" clId="{98459006-41D5-49D9-BF27-3385987949AA}" dt="2020-02-26T21:44:17.910" v="577" actId="20577"/>
          <ac:spMkLst>
            <pc:docMk/>
            <pc:sldMk cId="3484407754" sldId="639"/>
            <ac:spMk id="3" creationId="{F35E8CBB-5A7D-4DEF-BAF7-8DD5D042F9E0}"/>
          </ac:spMkLst>
        </pc:spChg>
        <pc:spChg chg="mod">
          <ac:chgData name="Daniel Valero" userId="31dd2ff7-9a08-462f-9096-6c487a317220" providerId="ADAL" clId="{98459006-41D5-49D9-BF27-3385987949AA}" dt="2020-02-26T22:16:23.621" v="824" actId="6549"/>
          <ac:spMkLst>
            <pc:docMk/>
            <pc:sldMk cId="3484407754" sldId="639"/>
            <ac:spMk id="5" creationId="{1AD8A9F0-64D5-48AF-A056-EB187C5F6CEC}"/>
          </ac:spMkLst>
        </pc:spChg>
        <pc:spChg chg="mod">
          <ac:chgData name="Daniel Valero" userId="31dd2ff7-9a08-462f-9096-6c487a317220" providerId="ADAL" clId="{98459006-41D5-49D9-BF27-3385987949AA}" dt="2020-02-26T22:16:22.729" v="823" actId="1076"/>
          <ac:spMkLst>
            <pc:docMk/>
            <pc:sldMk cId="3484407754" sldId="639"/>
            <ac:spMk id="6" creationId="{1299D8ED-9125-42F0-BC98-71AC4A50AC72}"/>
          </ac:spMkLst>
        </pc:spChg>
        <pc:spChg chg="mod">
          <ac:chgData name="Daniel Valero" userId="31dd2ff7-9a08-462f-9096-6c487a317220" providerId="ADAL" clId="{98459006-41D5-49D9-BF27-3385987949AA}" dt="2020-02-26T22:16:27.482" v="825" actId="1076"/>
          <ac:spMkLst>
            <pc:docMk/>
            <pc:sldMk cId="3484407754" sldId="639"/>
            <ac:spMk id="8" creationId="{08AF5E7D-8C05-4C56-84A2-4EDBD776ECBB}"/>
          </ac:spMkLst>
        </pc:spChg>
      </pc:sldChg>
      <pc:sldChg chg="modSp mod">
        <pc:chgData name="Daniel Valero" userId="31dd2ff7-9a08-462f-9096-6c487a317220" providerId="ADAL" clId="{98459006-41D5-49D9-BF27-3385987949AA}" dt="2020-02-26T22:17:10.735" v="833" actId="1076"/>
        <pc:sldMkLst>
          <pc:docMk/>
          <pc:sldMk cId="3277872637" sldId="641"/>
        </pc:sldMkLst>
        <pc:spChg chg="mod">
          <ac:chgData name="Daniel Valero" userId="31dd2ff7-9a08-462f-9096-6c487a317220" providerId="ADAL" clId="{98459006-41D5-49D9-BF27-3385987949AA}" dt="2020-02-26T21:44:31.011" v="581" actId="20577"/>
          <ac:spMkLst>
            <pc:docMk/>
            <pc:sldMk cId="3277872637" sldId="641"/>
            <ac:spMk id="3" creationId="{F35E8CBB-5A7D-4DEF-BAF7-8DD5D042F9E0}"/>
          </ac:spMkLst>
        </pc:spChg>
        <pc:spChg chg="mod">
          <ac:chgData name="Daniel Valero" userId="31dd2ff7-9a08-462f-9096-6c487a317220" providerId="ADAL" clId="{98459006-41D5-49D9-BF27-3385987949AA}" dt="2020-02-26T22:17:06.214" v="832" actId="6549"/>
          <ac:spMkLst>
            <pc:docMk/>
            <pc:sldMk cId="3277872637" sldId="641"/>
            <ac:spMk id="5" creationId="{1AD8A9F0-64D5-48AF-A056-EB187C5F6CEC}"/>
          </ac:spMkLst>
        </pc:spChg>
        <pc:spChg chg="mod">
          <ac:chgData name="Daniel Valero" userId="31dd2ff7-9a08-462f-9096-6c487a317220" providerId="ADAL" clId="{98459006-41D5-49D9-BF27-3385987949AA}" dt="2020-02-26T22:17:05.718" v="831" actId="1076"/>
          <ac:spMkLst>
            <pc:docMk/>
            <pc:sldMk cId="3277872637" sldId="641"/>
            <ac:spMk id="6" creationId="{1299D8ED-9125-42F0-BC98-71AC4A50AC72}"/>
          </ac:spMkLst>
        </pc:spChg>
        <pc:spChg chg="mod">
          <ac:chgData name="Daniel Valero" userId="31dd2ff7-9a08-462f-9096-6c487a317220" providerId="ADAL" clId="{98459006-41D5-49D9-BF27-3385987949AA}" dt="2020-02-26T22:17:10.735" v="833" actId="1076"/>
          <ac:spMkLst>
            <pc:docMk/>
            <pc:sldMk cId="3277872637" sldId="641"/>
            <ac:spMk id="8" creationId="{08AF5E7D-8C05-4C56-84A2-4EDBD776ECBB}"/>
          </ac:spMkLst>
        </pc:spChg>
      </pc:sldChg>
      <pc:sldChg chg="addSp modSp mod">
        <pc:chgData name="Daniel Valero" userId="31dd2ff7-9a08-462f-9096-6c487a317220" providerId="ADAL" clId="{98459006-41D5-49D9-BF27-3385987949AA}" dt="2020-02-26T22:17:00.182" v="830" actId="1076"/>
        <pc:sldMkLst>
          <pc:docMk/>
          <pc:sldMk cId="3560969285" sldId="642"/>
        </pc:sldMkLst>
        <pc:spChg chg="mod">
          <ac:chgData name="Daniel Valero" userId="31dd2ff7-9a08-462f-9096-6c487a317220" providerId="ADAL" clId="{98459006-41D5-49D9-BF27-3385987949AA}" dt="2020-02-26T21:44:23.666" v="579" actId="20577"/>
          <ac:spMkLst>
            <pc:docMk/>
            <pc:sldMk cId="3560969285" sldId="642"/>
            <ac:spMk id="3" creationId="{F35E8CBB-5A7D-4DEF-BAF7-8DD5D042F9E0}"/>
          </ac:spMkLst>
        </pc:spChg>
        <pc:spChg chg="mod">
          <ac:chgData name="Daniel Valero" userId="31dd2ff7-9a08-462f-9096-6c487a317220" providerId="ADAL" clId="{98459006-41D5-49D9-BF27-3385987949AA}" dt="2020-02-26T22:16:55.168" v="828" actId="6549"/>
          <ac:spMkLst>
            <pc:docMk/>
            <pc:sldMk cId="3560969285" sldId="642"/>
            <ac:spMk id="5" creationId="{1AD8A9F0-64D5-48AF-A056-EB187C5F6CEC}"/>
          </ac:spMkLst>
        </pc:spChg>
        <pc:spChg chg="mod">
          <ac:chgData name="Daniel Valero" userId="31dd2ff7-9a08-462f-9096-6c487a317220" providerId="ADAL" clId="{98459006-41D5-49D9-BF27-3385987949AA}" dt="2020-02-26T22:16:53.135" v="826" actId="1076"/>
          <ac:spMkLst>
            <pc:docMk/>
            <pc:sldMk cId="3560969285" sldId="642"/>
            <ac:spMk id="6" creationId="{1299D8ED-9125-42F0-BC98-71AC4A50AC72}"/>
          </ac:spMkLst>
        </pc:spChg>
        <pc:spChg chg="add mod">
          <ac:chgData name="Daniel Valero" userId="31dd2ff7-9a08-462f-9096-6c487a317220" providerId="ADAL" clId="{98459006-41D5-49D9-BF27-3385987949AA}" dt="2020-02-26T22:17:00.182" v="830" actId="1076"/>
          <ac:spMkLst>
            <pc:docMk/>
            <pc:sldMk cId="3560969285" sldId="642"/>
            <ac:spMk id="7" creationId="{55881739-4493-4500-B37D-691110D338C7}"/>
          </ac:spMkLst>
        </pc:spChg>
        <pc:spChg chg="mod">
          <ac:chgData name="Daniel Valero" userId="31dd2ff7-9a08-462f-9096-6c487a317220" providerId="ADAL" clId="{98459006-41D5-49D9-BF27-3385987949AA}" dt="2020-02-26T22:16:57.349" v="829" actId="1076"/>
          <ac:spMkLst>
            <pc:docMk/>
            <pc:sldMk cId="3560969285" sldId="642"/>
            <ac:spMk id="8" creationId="{08AF5E7D-8C05-4C56-84A2-4EDBD776ECBB}"/>
          </ac:spMkLst>
        </pc:spChg>
      </pc:sldChg>
      <pc:sldChg chg="addSp delSp modSp add del mod ord">
        <pc:chgData name="Daniel Valero" userId="31dd2ff7-9a08-462f-9096-6c487a317220" providerId="ADAL" clId="{98459006-41D5-49D9-BF27-3385987949AA}" dt="2020-02-26T21:38:12.829" v="349" actId="47"/>
        <pc:sldMkLst>
          <pc:docMk/>
          <pc:sldMk cId="4090849934" sldId="643"/>
        </pc:sldMkLst>
        <pc:spChg chg="mod">
          <ac:chgData name="Daniel Valero" userId="31dd2ff7-9a08-462f-9096-6c487a317220" providerId="ADAL" clId="{98459006-41D5-49D9-BF27-3385987949AA}" dt="2020-02-26T21:32:59.827" v="1"/>
          <ac:spMkLst>
            <pc:docMk/>
            <pc:sldMk cId="4090849934" sldId="643"/>
            <ac:spMk id="2" creationId="{EB67312A-9819-43C6-8D84-D9136E6CFFCC}"/>
          </ac:spMkLst>
        </pc:spChg>
        <pc:spChg chg="del mod">
          <ac:chgData name="Daniel Valero" userId="31dd2ff7-9a08-462f-9096-6c487a317220" providerId="ADAL" clId="{98459006-41D5-49D9-BF27-3385987949AA}" dt="2020-02-26T21:34:02.033" v="88" actId="3680"/>
          <ac:spMkLst>
            <pc:docMk/>
            <pc:sldMk cId="4090849934" sldId="643"/>
            <ac:spMk id="4" creationId="{F3616A99-090F-45E1-9334-58D58B148205}"/>
          </ac:spMkLst>
        </pc:spChg>
        <pc:spChg chg="del">
          <ac:chgData name="Daniel Valero" userId="31dd2ff7-9a08-462f-9096-6c487a317220" providerId="ADAL" clId="{98459006-41D5-49D9-BF27-3385987949AA}" dt="2020-02-26T21:33:50.770" v="85" actId="478"/>
          <ac:spMkLst>
            <pc:docMk/>
            <pc:sldMk cId="4090849934" sldId="643"/>
            <ac:spMk id="6" creationId="{F8842B6B-AD6C-401F-904D-7A4A505688DB}"/>
          </ac:spMkLst>
        </pc:spChg>
        <pc:spChg chg="del">
          <ac:chgData name="Daniel Valero" userId="31dd2ff7-9a08-462f-9096-6c487a317220" providerId="ADAL" clId="{98459006-41D5-49D9-BF27-3385987949AA}" dt="2020-02-26T21:33:51.658" v="86" actId="478"/>
          <ac:spMkLst>
            <pc:docMk/>
            <pc:sldMk cId="4090849934" sldId="643"/>
            <ac:spMk id="8" creationId="{63B9B722-F161-4DC3-9B99-6703E07B34E0}"/>
          </ac:spMkLst>
        </pc:spChg>
        <pc:spChg chg="del">
          <ac:chgData name="Daniel Valero" userId="31dd2ff7-9a08-462f-9096-6c487a317220" providerId="ADAL" clId="{98459006-41D5-49D9-BF27-3385987949AA}" dt="2020-02-26T21:33:53.305" v="87" actId="478"/>
          <ac:spMkLst>
            <pc:docMk/>
            <pc:sldMk cId="4090849934" sldId="643"/>
            <ac:spMk id="9" creationId="{C1C8E9F5-5846-45F0-9E02-D14844D69038}"/>
          </ac:spMkLst>
        </pc:spChg>
        <pc:spChg chg="mod">
          <ac:chgData name="Daniel Valero" userId="31dd2ff7-9a08-462f-9096-6c487a317220" providerId="ADAL" clId="{98459006-41D5-49D9-BF27-3385987949AA}" dt="2020-02-26T21:36:04.106" v="240" actId="20577"/>
          <ac:spMkLst>
            <pc:docMk/>
            <pc:sldMk cId="4090849934" sldId="643"/>
            <ac:spMk id="11" creationId="{FFAAFCAB-7AC9-4807-ACDA-4668ED10F3AF}"/>
          </ac:spMkLst>
        </pc:spChg>
        <pc:graphicFrameChg chg="add mod ord modGraphic">
          <ac:chgData name="Daniel Valero" userId="31dd2ff7-9a08-462f-9096-6c487a317220" providerId="ADAL" clId="{98459006-41D5-49D9-BF27-3385987949AA}" dt="2020-02-26T21:38:06.292" v="348"/>
          <ac:graphicFrameMkLst>
            <pc:docMk/>
            <pc:sldMk cId="4090849934" sldId="643"/>
            <ac:graphicFrameMk id="3" creationId="{2F155EC4-7285-4ECE-A5F3-D520AEBCBDCF}"/>
          </ac:graphicFrameMkLst>
        </pc:graphicFrameChg>
        <pc:picChg chg="del">
          <ac:chgData name="Daniel Valero" userId="31dd2ff7-9a08-462f-9096-6c487a317220" providerId="ADAL" clId="{98459006-41D5-49D9-BF27-3385987949AA}" dt="2020-02-26T21:36:05.233" v="241" actId="478"/>
          <ac:picMkLst>
            <pc:docMk/>
            <pc:sldMk cId="4090849934" sldId="643"/>
            <ac:picMk id="13" creationId="{BDFA756D-3080-467C-A3AC-4BB7340A2D72}"/>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0" i="0" dirty="0"/>
            <a:t>Resolve aliases of columns and tables</a:t>
          </a:r>
          <a:endParaRPr lang="en-US" sz="2800" dirty="0"/>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dirty="0"/>
            <a:t>D</a:t>
          </a:r>
          <a:r>
            <a:rPr lang="en-US" sz="2800" b="0" i="0" dirty="0"/>
            <a:t>ata types and if </a:t>
          </a:r>
          <a:r>
            <a:rPr lang="en-US" sz="2800" b="0" i="0" u="none" dirty="0"/>
            <a:t>implicit data type conversions are needed.</a:t>
          </a:r>
          <a:endParaRPr lang="en-US" sz="2800" b="0" u="none" dirty="0"/>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C29C0580-380C-475F-B294-F560B99136E8}">
      <dgm:prSet custT="1"/>
      <dgm:spPr/>
      <dgm:t>
        <a:bodyPr/>
        <a:lstStyle/>
        <a:p>
          <a:r>
            <a:rPr lang="en-US" sz="2800" b="0" i="0" dirty="0"/>
            <a:t>Object names (Tables, Views, Columns, etc.) to see if they exist. </a:t>
          </a:r>
          <a:endParaRPr lang="en-US" sz="2800" dirty="0"/>
        </a:p>
      </dgm:t>
    </dgm:pt>
    <dgm:pt modelId="{B81A5DFF-FB05-4AC6-9AC0-CEB2E43C3E8E}" type="parTrans" cxnId="{8BD6531B-5E17-491C-B9AB-89A49D849701}">
      <dgm:prSet/>
      <dgm:spPr/>
      <dgm:t>
        <a:bodyPr/>
        <a:lstStyle/>
        <a:p>
          <a:endParaRPr lang="en-US"/>
        </a:p>
      </dgm:t>
    </dgm:pt>
    <dgm:pt modelId="{86784B88-A561-4F6A-B32E-8590CAAA5DE7}" type="sibTrans" cxnId="{8BD6531B-5E17-491C-B9AB-89A49D849701}">
      <dgm:prSet/>
      <dgm:spPr/>
      <dgm:t>
        <a:bodyPr/>
        <a:lstStyle/>
        <a:p>
          <a:endParaRPr lang="en-US"/>
        </a:p>
      </dgm:t>
    </dgm:pt>
    <dgm:pt modelId="{8DD2FA70-9397-4F54-B54D-E6C8748ACD9A}">
      <dgm:prSet custT="1"/>
      <dgm:spPr/>
      <dgm:t>
        <a:bodyPr/>
        <a:lstStyle/>
        <a:p>
          <a:r>
            <a:rPr lang="en-US" sz="2800" dirty="0"/>
            <a:t>U</a:t>
          </a:r>
          <a:r>
            <a:rPr lang="en-US" sz="2800" b="0" i="0" dirty="0"/>
            <a:t>ser permissions are checked.</a:t>
          </a:r>
          <a:endParaRPr lang="en-US" sz="2800" dirty="0"/>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a:t>Does </a:t>
          </a:r>
          <a:r>
            <a:rPr lang="en-US" sz="2800" dirty="0"/>
            <a:t>a cached plan exist?</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5">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5">
        <dgm:presLayoutVars>
          <dgm:chMax val="0"/>
          <dgm:bulletEnabled val="1"/>
        </dgm:presLayoutVars>
      </dgm:prSet>
      <dgm:spPr/>
    </dgm:pt>
    <dgm:pt modelId="{D24E65A7-D984-4BE0-A3AC-00C9B80A30C7}" type="pres">
      <dgm:prSet presAssocID="{99E671E6-B442-4600-ADB2-94F414A453C9}" presName="spacer" presStyleCnt="0"/>
      <dgm:spPr/>
    </dgm:pt>
    <dgm:pt modelId="{7857B639-65CC-486C-8EFD-A918198FC586}" type="pres">
      <dgm:prSet presAssocID="{C29C0580-380C-475F-B294-F560B99136E8}" presName="parentText" presStyleLbl="node1" presStyleIdx="2" presStyleCnt="5">
        <dgm:presLayoutVars>
          <dgm:chMax val="0"/>
          <dgm:bulletEnabled val="1"/>
        </dgm:presLayoutVars>
      </dgm:prSet>
      <dgm:spPr/>
    </dgm:pt>
    <dgm:pt modelId="{85775E6F-2CAC-4396-BDAA-C80D85B4E150}" type="pres">
      <dgm:prSet presAssocID="{86784B88-A561-4F6A-B32E-8590CAAA5DE7}" presName="spacer" presStyleCnt="0"/>
      <dgm:spPr/>
    </dgm:pt>
    <dgm:pt modelId="{524A67A9-B79C-4B23-9404-C87D61A30585}" type="pres">
      <dgm:prSet presAssocID="{6F25A546-799D-436A-9037-49D14AF4A107}" presName="parentText" presStyleLbl="node1" presStyleIdx="3" presStyleCnt="5">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4" presStyleCnt="5">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8BD6531B-5E17-491C-B9AB-89A49D849701}" srcId="{AA501054-7272-43B7-9574-3FDFD3E347D2}" destId="{C29C0580-380C-475F-B294-F560B99136E8}" srcOrd="2" destOrd="0" parTransId="{B81A5DFF-FB05-4AC6-9AC0-CEB2E43C3E8E}" sibTransId="{86784B88-A561-4F6A-B32E-8590CAAA5DE7}"/>
    <dgm:cxn modelId="{260C2B35-2603-4987-96A2-6623FE1BF16A}" srcId="{AA501054-7272-43B7-9574-3FDFD3E347D2}" destId="{6F25A546-799D-436A-9037-49D14AF4A107}" srcOrd="3"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4"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76850F7C-2836-46DA-8CC5-478DEE861D09}" type="presOf" srcId="{C29C0580-380C-475F-B294-F560B99136E8}" destId="{7857B639-65CC-486C-8EFD-A918198FC586}"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8DD05156-DC9D-4667-80D6-561D99B00531}" type="presParOf" srcId="{2BA53DE8-C882-45F0-A3F5-C5DB2EE1F088}" destId="{7857B639-65CC-486C-8EFD-A918198FC586}" srcOrd="4" destOrd="0" presId="urn:microsoft.com/office/officeart/2005/8/layout/vList2"/>
    <dgm:cxn modelId="{22525807-82D7-4CFD-83A8-D3B99F090A31}" type="presParOf" srcId="{2BA53DE8-C882-45F0-A3F5-C5DB2EE1F088}" destId="{85775E6F-2CAC-4396-BDAA-C80D85B4E150}" srcOrd="5" destOrd="0" presId="urn:microsoft.com/office/officeart/2005/8/layout/vList2"/>
    <dgm:cxn modelId="{F33D468F-660E-4798-B38F-A173D19F5E6E}" type="presParOf" srcId="{2BA53DE8-C882-45F0-A3F5-C5DB2EE1F088}" destId="{524A67A9-B79C-4B23-9404-C87D61A30585}" srcOrd="6" destOrd="0" presId="urn:microsoft.com/office/officeart/2005/8/layout/vList2"/>
    <dgm:cxn modelId="{A70133C2-F1A7-4FB1-ADD3-7B60A3684474}" type="presParOf" srcId="{2BA53DE8-C882-45F0-A3F5-C5DB2EE1F088}" destId="{EC537CA7-1C8C-4D67-A2FF-A17DA2A5082B}" srcOrd="7" destOrd="0" presId="urn:microsoft.com/office/officeart/2005/8/layout/vList2"/>
    <dgm:cxn modelId="{7039D721-8EB7-4236-A34A-3B854E7CD29A}" type="presParOf" srcId="{2BA53DE8-C882-45F0-A3F5-C5DB2EE1F088}" destId="{4542E025-F95B-427C-9891-4B9526118B8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noProof="0" dirty="0"/>
            <a:t>What is meant by SQL Server’s query optimizer being </a:t>
          </a:r>
          <a:r>
            <a:rPr lang="en-US" sz="2400" b="1" noProof="0" dirty="0"/>
            <a:t>cost-based</a:t>
          </a:r>
          <a:r>
            <a:rPr lang="en-US" sz="2400" noProof="0" dirty="0"/>
            <a:t>?</a:t>
          </a:r>
        </a:p>
      </dgm:t>
    </dgm:pt>
    <dgm:pt modelId="{74BFB16A-6DC3-47DD-AE97-F15F596B23DF}" type="parTrans" cxnId="{4BB646B5-2A6D-439D-A88F-AC928930541F}">
      <dgm:prSet/>
      <dgm:spPr/>
      <dgm:t>
        <a:bodyPr/>
        <a:lstStyle/>
        <a:p>
          <a:endParaRPr lang="en-US" sz="2200" noProof="0" dirty="0"/>
        </a:p>
      </dgm:t>
    </dgm:pt>
    <dgm:pt modelId="{CAE4D9F8-FDBB-4525-9125-6BAF56328FCE}" type="sibTrans" cxnId="{4BB646B5-2A6D-439D-A88F-AC928930541F}">
      <dgm:prSet/>
      <dgm:spPr/>
      <dgm:t>
        <a:bodyPr/>
        <a:lstStyle/>
        <a:p>
          <a:endParaRPr lang="en-US" sz="2200" noProof="0" dirty="0"/>
        </a:p>
      </dgm:t>
    </dgm:pt>
    <dgm:pt modelId="{4AADDD74-6F25-4090-859D-26CEC3701C59}">
      <dgm:prSet custT="1"/>
      <dgm:spPr/>
      <dgm:t>
        <a:bodyPr/>
        <a:lstStyle/>
        <a:p>
          <a:r>
            <a:rPr lang="en-US" sz="2400" noProof="0" dirty="0"/>
            <a:t>When is a query considered for a parallel execution plan?</a:t>
          </a:r>
        </a:p>
      </dgm:t>
    </dgm:pt>
    <dgm:pt modelId="{24F0118A-87ED-4AD1-BEDE-10648EBA816A}" type="parTrans" cxnId="{E7CB8CC1-26D9-427F-8CBC-40CC094F882B}">
      <dgm:prSet/>
      <dgm:spPr/>
      <dgm:t>
        <a:bodyPr/>
        <a:lstStyle/>
        <a:p>
          <a:endParaRPr lang="en-US" sz="2200" noProof="0" dirty="0"/>
        </a:p>
      </dgm:t>
    </dgm:pt>
    <dgm:pt modelId="{E9FEE4D0-2D52-4B42-874D-E238DEFA739E}" type="sibTrans" cxnId="{E7CB8CC1-26D9-427F-8CBC-40CC094F882B}">
      <dgm:prSet/>
      <dgm:spPr/>
      <dgm:t>
        <a:bodyPr/>
        <a:lstStyle/>
        <a:p>
          <a:endParaRPr lang="en-US" sz="2200" noProof="0" dirty="0"/>
        </a:p>
      </dgm:t>
    </dgm:pt>
    <dgm:pt modelId="{ACC81591-6872-4FA4-8AE8-1C782D09271D}">
      <dgm:prSet custT="1"/>
      <dgm:spPr/>
      <dgm:t>
        <a:bodyPr/>
        <a:lstStyle/>
        <a:p>
          <a:r>
            <a:rPr lang="en-US" sz="2400" noProof="0" dirty="0"/>
            <a:t>Will SQL Server evaluate </a:t>
          </a:r>
          <a:r>
            <a:rPr lang="en-US" sz="2400" b="1" noProof="0" dirty="0"/>
            <a:t>every</a:t>
          </a:r>
          <a:r>
            <a:rPr lang="en-US" sz="2400" noProof="0" dirty="0"/>
            <a:t> possible query plan in the process of optimization? Why?</a:t>
          </a:r>
        </a:p>
      </dgm:t>
    </dgm:pt>
    <dgm:pt modelId="{EFBDCEBF-C69D-4B09-A22F-E5A20CB3F421}" type="parTrans" cxnId="{676107DD-FA3D-4521-B17A-EE075B9824A6}">
      <dgm:prSet/>
      <dgm:spPr/>
      <dgm:t>
        <a:bodyPr/>
        <a:lstStyle/>
        <a:p>
          <a:endParaRPr lang="en-US" sz="2200" noProof="0" dirty="0"/>
        </a:p>
      </dgm:t>
    </dgm:pt>
    <dgm:pt modelId="{43759642-4F8A-4131-B9CC-C8831BA95180}" type="sibTrans" cxnId="{676107DD-FA3D-4521-B17A-EE075B9824A6}">
      <dgm:prSet/>
      <dgm:spPr/>
      <dgm:t>
        <a:bodyPr/>
        <a:lstStyle/>
        <a:p>
          <a:endParaRPr lang="en-US" sz="2200" noProof="0" dirty="0"/>
        </a:p>
      </dgm:t>
    </dgm:pt>
    <dgm:pt modelId="{0F813B4B-EE2B-4914-A541-BEA86D6B5AC0}">
      <dgm:prSet custT="1"/>
      <dgm:spPr/>
      <dgm:t>
        <a:bodyPr/>
        <a:lstStyle/>
        <a:p>
          <a:r>
            <a:rPr lang="en-US" sz="2400" noProof="0" dirty="0"/>
            <a:t>Name two recompilation causes.</a:t>
          </a:r>
        </a:p>
      </dgm:t>
    </dgm:pt>
    <dgm:pt modelId="{CDEB0C89-1CD4-46AF-8CBB-DFD643EE432C}" type="parTrans" cxnId="{6DF78982-A8F0-475B-8218-3CEB47020845}">
      <dgm:prSet/>
      <dgm:spPr/>
      <dgm:t>
        <a:bodyPr/>
        <a:lstStyle/>
        <a:p>
          <a:endParaRPr lang="en-US" sz="2200" noProof="0" dirty="0"/>
        </a:p>
      </dgm:t>
    </dgm:pt>
    <dgm:pt modelId="{34E8FD04-86F6-4704-9023-3655DB6AD267}" type="sibTrans" cxnId="{6DF78982-A8F0-475B-8218-3CEB47020845}">
      <dgm:prSet/>
      <dgm:spPr/>
      <dgm:t>
        <a:bodyPr/>
        <a:lstStyle/>
        <a:p>
          <a:endParaRPr lang="en-US" sz="2200" noProof="0" dirty="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6037B00E-7DBF-4F2F-9E9B-D69D8C39F86D}" type="pres">
      <dgm:prSet presAssocID="{4AADDD74-6F25-4090-859D-26CEC3701C59}" presName="parentText" presStyleLbl="node1" presStyleIdx="1" presStyleCnt="4">
        <dgm:presLayoutVars>
          <dgm:chMax val="0"/>
          <dgm:bulletEnabled val="1"/>
        </dgm:presLayoutVars>
      </dgm:prSet>
      <dgm:spPr/>
    </dgm:pt>
    <dgm:pt modelId="{DC4C2C30-FA08-40F4-98B8-D249479A6EB8}" type="pres">
      <dgm:prSet presAssocID="{E9FEE4D0-2D52-4B42-874D-E238DEFA739E}" presName="spacer" presStyleCnt="0"/>
      <dgm:spPr/>
    </dgm:pt>
    <dgm:pt modelId="{07D5096F-59A6-4584-8AE2-7D48D2425A11}" type="pres">
      <dgm:prSet presAssocID="{ACC81591-6872-4FA4-8AE8-1C782D09271D}" presName="parentText" presStyleLbl="node1" presStyleIdx="2" presStyleCnt="4">
        <dgm:presLayoutVars>
          <dgm:chMax val="0"/>
          <dgm:bulletEnabled val="1"/>
        </dgm:presLayoutVars>
      </dgm:prSet>
      <dgm:spPr/>
    </dgm:pt>
    <dgm:pt modelId="{296E13C3-1C92-40A2-8B4A-D4F2A90D6597}" type="pres">
      <dgm:prSet presAssocID="{43759642-4F8A-4131-B9CC-C8831BA95180}" presName="spacer" presStyleCnt="0"/>
      <dgm:spPr/>
    </dgm:pt>
    <dgm:pt modelId="{8625910E-75FB-4C25-8D86-5C14BF853FEE}" type="pres">
      <dgm:prSet presAssocID="{0F813B4B-EE2B-4914-A541-BEA86D6B5AC0}"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24BC5C43-FFA9-4D92-A65E-6AEF44C7368B}" type="presOf" srcId="{ACC81591-6872-4FA4-8AE8-1C782D09271D}" destId="{07D5096F-59A6-4584-8AE2-7D48D2425A11}" srcOrd="0" destOrd="0" presId="urn:microsoft.com/office/officeart/2005/8/layout/vList2"/>
    <dgm:cxn modelId="{3DE2BF71-ED3D-4082-B53A-9D4AD1384BDC}" type="presOf" srcId="{0F813B4B-EE2B-4914-A541-BEA86D6B5AC0}" destId="{8625910E-75FB-4C25-8D86-5C14BF853FEE}" srcOrd="0" destOrd="0" presId="urn:microsoft.com/office/officeart/2005/8/layout/vList2"/>
    <dgm:cxn modelId="{6DF78982-A8F0-475B-8218-3CEB47020845}" srcId="{15A7774C-B622-4F48-8F7B-AF1AAB74E997}" destId="{0F813B4B-EE2B-4914-A541-BEA86D6B5AC0}" srcOrd="3" destOrd="0" parTransId="{CDEB0C89-1CD4-46AF-8CBB-DFD643EE432C}" sibTransId="{34E8FD04-86F6-4704-9023-3655DB6AD267}"/>
    <dgm:cxn modelId="{4BB646B5-2A6D-439D-A88F-AC928930541F}" srcId="{15A7774C-B622-4F48-8F7B-AF1AAB74E997}" destId="{CDCA19B1-3B45-4B24-8F19-085A650701BC}" srcOrd="0" destOrd="0" parTransId="{74BFB16A-6DC3-47DD-AE97-F15F596B23DF}" sibTransId="{CAE4D9F8-FDBB-4525-9125-6BAF56328FCE}"/>
    <dgm:cxn modelId="{E7CB8CC1-26D9-427F-8CBC-40CC094F882B}" srcId="{15A7774C-B622-4F48-8F7B-AF1AAB74E997}" destId="{4AADDD74-6F25-4090-859D-26CEC3701C59}" srcOrd="1" destOrd="0" parTransId="{24F0118A-87ED-4AD1-BEDE-10648EBA816A}" sibTransId="{E9FEE4D0-2D52-4B42-874D-E238DEFA739E}"/>
    <dgm:cxn modelId="{5A24E8CE-3777-420E-92B6-270F5048268C}" type="presOf" srcId="{4AADDD74-6F25-4090-859D-26CEC3701C59}" destId="{6037B00E-7DBF-4F2F-9E9B-D69D8C39F86D}" srcOrd="0" destOrd="0" presId="urn:microsoft.com/office/officeart/2005/8/layout/vList2"/>
    <dgm:cxn modelId="{676107DD-FA3D-4521-B17A-EE075B9824A6}" srcId="{15A7774C-B622-4F48-8F7B-AF1AAB74E997}" destId="{ACC81591-6872-4FA4-8AE8-1C782D09271D}" srcOrd="2" destOrd="0" parTransId="{EFBDCEBF-C69D-4B09-A22F-E5A20CB3F421}" sibTransId="{43759642-4F8A-4131-B9CC-C8831BA95180}"/>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9BA69D7C-EFF6-43A9-A9CF-D97D727AFB7D}" type="presParOf" srcId="{97400BD5-14CE-4761-8A6A-64BC46D23158}" destId="{6037B00E-7DBF-4F2F-9E9B-D69D8C39F86D}" srcOrd="2" destOrd="0" presId="urn:microsoft.com/office/officeart/2005/8/layout/vList2"/>
    <dgm:cxn modelId="{9F2BDF0C-98E6-4179-8FD9-1C837C3CC8D5}" type="presParOf" srcId="{97400BD5-14CE-4761-8A6A-64BC46D23158}" destId="{DC4C2C30-FA08-40F4-98B8-D249479A6EB8}" srcOrd="3" destOrd="0" presId="urn:microsoft.com/office/officeart/2005/8/layout/vList2"/>
    <dgm:cxn modelId="{C5385447-0096-4996-A06B-18A1209DC4F0}" type="presParOf" srcId="{97400BD5-14CE-4761-8A6A-64BC46D23158}" destId="{07D5096F-59A6-4584-8AE2-7D48D2425A11}" srcOrd="4" destOrd="0" presId="urn:microsoft.com/office/officeart/2005/8/layout/vList2"/>
    <dgm:cxn modelId="{5114E3DF-1D54-45D2-910C-AF1C1AA6E5BD}" type="presParOf" srcId="{97400BD5-14CE-4761-8A6A-64BC46D23158}" destId="{296E13C3-1C92-40A2-8B4A-D4F2A90D6597}" srcOrd="5" destOrd="0" presId="urn:microsoft.com/office/officeart/2005/8/layout/vList2"/>
    <dgm:cxn modelId="{D2159C99-22C8-4B6D-B800-371049D1C3E5}" type="presParOf" srcId="{97400BD5-14CE-4761-8A6A-64BC46D23158}" destId="{8625910E-75FB-4C25-8D86-5C14BF853FEE}"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BBBB98E-C148-4A73-BA40-825C1DE7565E}"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1E50989D-56E3-4AA0-A7E5-8212624F7C69}">
      <dgm:prSet phldrT="[Text]" custT="1"/>
      <dgm:spPr/>
      <dgm:t>
        <a:bodyPr/>
        <a:lstStyle/>
        <a:p>
          <a:pPr algn="l">
            <a:buFont typeface="Arial" panose="020B0604020202020204" pitchFamily="34" charset="0"/>
            <a:buChar char="•"/>
          </a:pPr>
          <a:r>
            <a:rPr lang="en-US" sz="2000" b="1" i="0" kern="1200" dirty="0">
              <a:latin typeface="+mj-lt"/>
              <a:ea typeface="+mn-ea"/>
              <a:cs typeface="+mn-cs"/>
            </a:rPr>
            <a:t>Estimated Execution Plan (Before Execution)</a:t>
          </a:r>
        </a:p>
      </dgm:t>
    </dgm:pt>
    <dgm:pt modelId="{DCBC2806-FE57-4FF9-A63C-1BDA8C568CED}" type="parTrans" cxnId="{1C73C468-FA46-4815-B2FA-C054831AB9DC}">
      <dgm:prSet/>
      <dgm:spPr/>
      <dgm:t>
        <a:bodyPr/>
        <a:lstStyle/>
        <a:p>
          <a:pPr algn="l"/>
          <a:endParaRPr lang="en-US"/>
        </a:p>
      </dgm:t>
    </dgm:pt>
    <dgm:pt modelId="{EE241621-2B3C-4C5E-B9A6-C45E85B11A97}" type="sibTrans" cxnId="{1C73C468-FA46-4815-B2FA-C054831AB9DC}">
      <dgm:prSet/>
      <dgm:spPr/>
      <dgm:t>
        <a:bodyPr/>
        <a:lstStyle/>
        <a:p>
          <a:pPr algn="l"/>
          <a:endParaRPr lang="en-US"/>
        </a:p>
      </dgm:t>
    </dgm:pt>
    <dgm:pt modelId="{D0DFB929-AF59-451C-8AB4-C324E5A1C17A}">
      <dgm:prSet custT="1"/>
      <dgm:spPr/>
      <dgm: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gm:t>
    </dgm:pt>
    <dgm:pt modelId="{C071B821-2292-472C-B34E-2F3CF96CF487}" type="parTrans" cxnId="{21FD0914-E609-420D-B889-FE3CED465DC6}">
      <dgm:prSet/>
      <dgm:spPr/>
      <dgm:t>
        <a:bodyPr/>
        <a:lstStyle/>
        <a:p>
          <a:pPr algn="l"/>
          <a:endParaRPr lang="en-US"/>
        </a:p>
      </dgm:t>
    </dgm:pt>
    <dgm:pt modelId="{2B2BE62E-E335-4978-9E65-4D3D3BF35BB0}" type="sibTrans" cxnId="{21FD0914-E609-420D-B889-FE3CED465DC6}">
      <dgm:prSet/>
      <dgm:spPr/>
      <dgm:t>
        <a:bodyPr/>
        <a:lstStyle/>
        <a:p>
          <a:pPr algn="l"/>
          <a:endParaRPr lang="en-US"/>
        </a:p>
      </dgm:t>
    </dgm:pt>
    <dgm:pt modelId="{BD547D32-8A82-4AFA-B443-655CF639AEF3}">
      <dgm:prSet custT="1"/>
      <dgm:spPr/>
      <dgm:t>
        <a:bodyPr/>
        <a:lstStyle/>
        <a:p>
          <a:pPr algn="l">
            <a:buFont typeface="Arial" panose="020B0604020202020204" pitchFamily="34" charset="0"/>
            <a:buChar char="•"/>
          </a:pPr>
          <a:r>
            <a:rPr lang="en-US" sz="2000" b="1" i="0" dirty="0">
              <a:latin typeface="+mj-lt"/>
            </a:rPr>
            <a:t>Actual Execution Plan (After Execution)</a:t>
          </a:r>
        </a:p>
      </dgm:t>
    </dgm:pt>
    <dgm:pt modelId="{D951B5A0-0447-4E7F-A043-A3A944E36680}" type="parTrans" cxnId="{A4D152BC-2CE2-45AA-B4C6-3E28DBD90E68}">
      <dgm:prSet/>
      <dgm:spPr/>
      <dgm:t>
        <a:bodyPr/>
        <a:lstStyle/>
        <a:p>
          <a:pPr algn="l"/>
          <a:endParaRPr lang="en-US"/>
        </a:p>
      </dgm:t>
    </dgm:pt>
    <dgm:pt modelId="{1E57BE85-C823-4EF3-B966-F6B4AAC2FBE2}" type="sibTrans" cxnId="{A4D152BC-2CE2-45AA-B4C6-3E28DBD90E68}">
      <dgm:prSet/>
      <dgm:spPr/>
      <dgm:t>
        <a:bodyPr/>
        <a:lstStyle/>
        <a:p>
          <a:pPr algn="l"/>
          <a:endParaRPr lang="en-US"/>
        </a:p>
      </dgm:t>
    </dgm:pt>
    <dgm:pt modelId="{706EE6B1-7CC8-4C9A-B92E-D3DB377AA212}">
      <dgm:prSet phldrT="[Text]"/>
      <dgm:spPr/>
      <dgm:t>
        <a:bodyPr/>
        <a:lstStyle/>
        <a:p>
          <a:pPr algn="l">
            <a:buFont typeface="Arial" panose="020B0604020202020204" pitchFamily="34" charset="0"/>
            <a:buChar char="•"/>
          </a:pPr>
          <a:r>
            <a:rPr lang="en-US" b="0" i="0" dirty="0"/>
            <a:t>The compiled plan.</a:t>
          </a:r>
          <a:endParaRPr lang="en-US" dirty="0"/>
        </a:p>
      </dgm:t>
    </dgm:pt>
    <dgm:pt modelId="{9836E142-FEC1-46D5-A79C-07E021EF02D5}" type="parTrans" cxnId="{9F6B7313-3294-449C-95C2-B29BE6A1239D}">
      <dgm:prSet/>
      <dgm:spPr/>
      <dgm:t>
        <a:bodyPr/>
        <a:lstStyle/>
        <a:p>
          <a:pPr algn="l"/>
          <a:endParaRPr lang="en-US"/>
        </a:p>
      </dgm:t>
    </dgm:pt>
    <dgm:pt modelId="{500CCEB6-0D0B-4762-8DB1-513F072FBE46}" type="sibTrans" cxnId="{9F6B7313-3294-449C-95C2-B29BE6A1239D}">
      <dgm:prSet/>
      <dgm:spPr/>
      <dgm:t>
        <a:bodyPr/>
        <a:lstStyle/>
        <a:p>
          <a:pPr algn="l"/>
          <a:endParaRPr lang="en-US"/>
        </a:p>
      </dgm:t>
    </dgm:pt>
    <dgm:pt modelId="{375A8C87-C4B4-4005-861E-A41B042DD1D6}">
      <dgm:prSet/>
      <dgm:spPr/>
      <dgm:t>
        <a:bodyPr/>
        <a:lstStyle/>
        <a:p>
          <a:pPr marL="0" indent="0" algn="l">
            <a:buFont typeface="Arial" panose="020B0604020202020204" pitchFamily="34" charset="0"/>
            <a:buChar char="•"/>
          </a:pPr>
          <a:r>
            <a:rPr lang="en-US" b="0" i="0" dirty="0"/>
            <a:t>The same as the compiled plan plus its execution context.</a:t>
          </a:r>
        </a:p>
      </dgm:t>
    </dgm:pt>
    <dgm:pt modelId="{D29593F6-48E3-436A-9317-4950D3E041F5}" type="parTrans" cxnId="{3AF50D84-5E79-4BE0-A40D-86D90FE08012}">
      <dgm:prSet/>
      <dgm:spPr/>
      <dgm:t>
        <a:bodyPr/>
        <a:lstStyle/>
        <a:p>
          <a:pPr algn="l"/>
          <a:endParaRPr lang="en-US"/>
        </a:p>
      </dgm:t>
    </dgm:pt>
    <dgm:pt modelId="{5FBFFBD6-D717-4125-B153-E797E6E2998F}" type="sibTrans" cxnId="{3AF50D84-5E79-4BE0-A40D-86D90FE08012}">
      <dgm:prSet/>
      <dgm:spPr/>
      <dgm:t>
        <a:bodyPr/>
        <a:lstStyle/>
        <a:p>
          <a:pPr algn="l"/>
          <a:endParaRPr lang="en-US"/>
        </a:p>
      </dgm:t>
    </dgm:pt>
    <dgm:pt modelId="{EBFA624E-53FE-46C6-92A6-D8078B1BF005}">
      <dgm:prSet/>
      <dgm:spPr/>
      <dgm:t>
        <a:bodyPr/>
        <a:lstStyle/>
        <a:p>
          <a:pPr marL="0" indent="0" algn="l">
            <a:buFont typeface="Arial" panose="020B0604020202020204" pitchFamily="34" charset="0"/>
            <a:buChar char="•"/>
          </a:pPr>
          <a:r>
            <a:rPr lang="en-US" b="0" i="0" dirty="0"/>
            <a:t>The same as the compiled plan plus its execution context. </a:t>
          </a:r>
        </a:p>
      </dgm:t>
    </dgm:pt>
    <dgm:pt modelId="{989E4290-8FD9-4588-8F8E-373DD34599C3}" type="parTrans" cxnId="{A0C0595F-234F-47A2-84C5-B6648A88FC5C}">
      <dgm:prSet/>
      <dgm:spPr/>
      <dgm:t>
        <a:bodyPr/>
        <a:lstStyle/>
        <a:p>
          <a:pPr algn="l"/>
          <a:endParaRPr lang="en-US"/>
        </a:p>
      </dgm:t>
    </dgm:pt>
    <dgm:pt modelId="{915DEFB0-48CF-4ACA-9DA1-5D5CD0B0040F}" type="sibTrans" cxnId="{A0C0595F-234F-47A2-84C5-B6648A88FC5C}">
      <dgm:prSet/>
      <dgm:spPr/>
      <dgm:t>
        <a:bodyPr/>
        <a:lstStyle/>
        <a:p>
          <a:pPr algn="l"/>
          <a:endParaRPr lang="en-US"/>
        </a:p>
      </dgm:t>
    </dgm:pt>
    <dgm:pt modelId="{185CBA25-B83D-4250-9E7E-19062DCCCA13}">
      <dgm:prSet/>
      <dgm:spPr/>
      <dgm:t>
        <a:bodyPr/>
        <a:lstStyle/>
        <a:p>
          <a:pPr marL="0" indent="0" algn="l">
            <a:buFont typeface="Arial" panose="020B0604020202020204" pitchFamily="34" charset="0"/>
            <a:buChar char="•"/>
          </a:pPr>
          <a:r>
            <a:rPr lang="en-US" b="0" i="0" dirty="0"/>
            <a:t>This includes runtime information available after the execution completes, such as execution warnings, or in newer versions of the Database Engine, the elapsed and CPU time used during execution.</a:t>
          </a:r>
        </a:p>
      </dgm:t>
    </dgm:pt>
    <dgm:pt modelId="{37529963-87FB-4AD8-999A-EE9ACB45192F}" type="parTrans" cxnId="{A79DC40B-D725-4E8E-B23A-395CF4738EE2}">
      <dgm:prSet/>
      <dgm:spPr/>
      <dgm:t>
        <a:bodyPr/>
        <a:lstStyle/>
        <a:p>
          <a:pPr algn="l"/>
          <a:endParaRPr lang="en-US"/>
        </a:p>
      </dgm:t>
    </dgm:pt>
    <dgm:pt modelId="{C1A4DA7F-8A08-40CB-86D4-A9D2C5541D82}" type="sibTrans" cxnId="{A79DC40B-D725-4E8E-B23A-395CF4738EE2}">
      <dgm:prSet/>
      <dgm:spPr/>
      <dgm:t>
        <a:bodyPr/>
        <a:lstStyle/>
        <a:p>
          <a:pPr algn="l"/>
          <a:endParaRPr lang="en-US"/>
        </a:p>
      </dgm:t>
    </dgm:pt>
    <dgm:pt modelId="{C723780F-9F4B-4C0B-B376-BD8975CB55C8}">
      <dgm:prSet/>
      <dgm:spPr/>
      <dgm:t>
        <a:bodyPr/>
        <a:lstStyle/>
        <a:p>
          <a:pPr marL="0" indent="0" algn="l">
            <a:buFont typeface="Arial" panose="020B0604020202020204" pitchFamily="34" charset="0"/>
            <a:buChar char="•"/>
          </a:pPr>
          <a:r>
            <a:rPr lang="en-US" b="0" i="0" dirty="0"/>
            <a:t>This includes runtime information during execution progress and is updated every second. Runtime information includes for example the actual number of rows flowing through the operators.</a:t>
          </a:r>
        </a:p>
      </dgm:t>
    </dgm:pt>
    <dgm:pt modelId="{F2EAA2DA-B9A9-4297-9579-F74B99DC88F6}" type="parTrans" cxnId="{96908515-0992-430C-BFB7-BAD2213690FF}">
      <dgm:prSet/>
      <dgm:spPr/>
      <dgm:t>
        <a:bodyPr/>
        <a:lstStyle/>
        <a:p>
          <a:pPr algn="l"/>
          <a:endParaRPr lang="en-US"/>
        </a:p>
      </dgm:t>
    </dgm:pt>
    <dgm:pt modelId="{CC04E669-722C-4B28-B72F-5AFA5318746D}" type="sibTrans" cxnId="{96908515-0992-430C-BFB7-BAD2213690FF}">
      <dgm:prSet/>
      <dgm:spPr/>
      <dgm:t>
        <a:bodyPr/>
        <a:lstStyle/>
        <a:p>
          <a:pPr algn="l"/>
          <a:endParaRPr lang="en-US"/>
        </a:p>
      </dgm:t>
    </dgm:pt>
    <dgm:pt modelId="{CDB2EC04-1A23-40AD-827B-6191930CAF4E}">
      <dgm:prSet/>
      <dgm:spPr/>
      <dgm:t>
        <a:bodyPr/>
        <a:lstStyle/>
        <a:p>
          <a:pPr marL="0" indent="0" algn="l">
            <a:buFont typeface="Arial" panose="020B0604020202020204" pitchFamily="34" charset="0"/>
            <a:buChar char="•"/>
          </a:pPr>
          <a:r>
            <a:rPr lang="en-US" dirty="0"/>
            <a:t>Enables rapid identification of potential bottlenecks.</a:t>
          </a:r>
          <a:endParaRPr lang="en-US" b="0" i="0" dirty="0"/>
        </a:p>
      </dgm:t>
    </dgm:pt>
    <dgm:pt modelId="{E36563D2-F2D8-4E01-8EA3-FF7B3009A1F3}" type="parTrans" cxnId="{8EA699E2-BB96-4F6C-B3C0-1C5BF7D7727F}">
      <dgm:prSet/>
      <dgm:spPr/>
      <dgm:t>
        <a:bodyPr/>
        <a:lstStyle/>
        <a:p>
          <a:pPr algn="l"/>
          <a:endParaRPr lang="en-US"/>
        </a:p>
      </dgm:t>
    </dgm:pt>
    <dgm:pt modelId="{C88DE7AB-2582-4934-A9BC-49335B547B8E}" type="sibTrans" cxnId="{8EA699E2-BB96-4F6C-B3C0-1C5BF7D7727F}">
      <dgm:prSet/>
      <dgm:spPr/>
      <dgm:t>
        <a:bodyPr/>
        <a:lstStyle/>
        <a:p>
          <a:pPr algn="l"/>
          <a:endParaRPr lang="en-US"/>
        </a:p>
      </dgm:t>
    </dgm:pt>
    <dgm:pt modelId="{A5207788-1848-419B-9174-A9173B07446A}" type="pres">
      <dgm:prSet presAssocID="{DBBBB98E-C148-4A73-BA40-825C1DE7565E}" presName="linear" presStyleCnt="0">
        <dgm:presLayoutVars>
          <dgm:dir/>
          <dgm:animLvl val="lvl"/>
          <dgm:resizeHandles val="exact"/>
        </dgm:presLayoutVars>
      </dgm:prSet>
      <dgm:spPr/>
    </dgm:pt>
    <dgm:pt modelId="{5D065949-85A2-48B1-9238-2D696FAA163C}" type="pres">
      <dgm:prSet presAssocID="{1E50989D-56E3-4AA0-A7E5-8212624F7C69}" presName="parentLin" presStyleCnt="0"/>
      <dgm:spPr/>
    </dgm:pt>
    <dgm:pt modelId="{93BC5F52-8980-4C47-BB3A-29DF0E250D74}" type="pres">
      <dgm:prSet presAssocID="{1E50989D-56E3-4AA0-A7E5-8212624F7C69}" presName="parentLeftMargin" presStyleLbl="node1" presStyleIdx="0" presStyleCnt="3"/>
      <dgm:spPr/>
    </dgm:pt>
    <dgm:pt modelId="{FE5D72FD-32BF-4AE2-ACA8-290580A168D3}" type="pres">
      <dgm:prSet presAssocID="{1E50989D-56E3-4AA0-A7E5-8212624F7C69}" presName="parentText" presStyleLbl="node1" presStyleIdx="0" presStyleCnt="3">
        <dgm:presLayoutVars>
          <dgm:chMax val="0"/>
          <dgm:bulletEnabled val="1"/>
        </dgm:presLayoutVars>
      </dgm:prSet>
      <dgm:spPr/>
    </dgm:pt>
    <dgm:pt modelId="{96195342-73ED-4573-8ECF-1AF902A6FD33}" type="pres">
      <dgm:prSet presAssocID="{1E50989D-56E3-4AA0-A7E5-8212624F7C69}" presName="negativeSpace" presStyleCnt="0"/>
      <dgm:spPr/>
    </dgm:pt>
    <dgm:pt modelId="{EEB8589D-BD4A-49AE-87C3-4C0A359F4B92}" type="pres">
      <dgm:prSet presAssocID="{1E50989D-56E3-4AA0-A7E5-8212624F7C69}" presName="childText" presStyleLbl="conFgAcc1" presStyleIdx="0" presStyleCnt="3">
        <dgm:presLayoutVars>
          <dgm:bulletEnabled val="1"/>
        </dgm:presLayoutVars>
      </dgm:prSet>
      <dgm:spPr/>
    </dgm:pt>
    <dgm:pt modelId="{0C0BE48C-F8FD-40AF-A28C-A4CA91521AB4}" type="pres">
      <dgm:prSet presAssocID="{EE241621-2B3C-4C5E-B9A6-C45E85B11A97}" presName="spaceBetweenRectangles" presStyleCnt="0"/>
      <dgm:spPr/>
    </dgm:pt>
    <dgm:pt modelId="{FD70FE63-E4F3-487B-96A8-52F8FBB8AAE8}" type="pres">
      <dgm:prSet presAssocID="{BD547D32-8A82-4AFA-B443-655CF639AEF3}" presName="parentLin" presStyleCnt="0"/>
      <dgm:spPr/>
    </dgm:pt>
    <dgm:pt modelId="{45FCE905-41DE-47D8-9C0F-966CE0CBCB1F}" type="pres">
      <dgm:prSet presAssocID="{BD547D32-8A82-4AFA-B443-655CF639AEF3}" presName="parentLeftMargin" presStyleLbl="node1" presStyleIdx="0" presStyleCnt="3"/>
      <dgm:spPr/>
    </dgm:pt>
    <dgm:pt modelId="{1FB297A9-E852-47A8-AEAB-9200D7CC69EB}" type="pres">
      <dgm:prSet presAssocID="{BD547D32-8A82-4AFA-B443-655CF639AEF3}" presName="parentText" presStyleLbl="node1" presStyleIdx="1" presStyleCnt="3">
        <dgm:presLayoutVars>
          <dgm:chMax val="0"/>
          <dgm:bulletEnabled val="1"/>
        </dgm:presLayoutVars>
      </dgm:prSet>
      <dgm:spPr/>
    </dgm:pt>
    <dgm:pt modelId="{4CBD5BE1-6E4B-4383-BCCB-A285F6B6575B}" type="pres">
      <dgm:prSet presAssocID="{BD547D32-8A82-4AFA-B443-655CF639AEF3}" presName="negativeSpace" presStyleCnt="0"/>
      <dgm:spPr/>
    </dgm:pt>
    <dgm:pt modelId="{A5DC065D-A216-4D8A-8BAA-A263DD53A95C}" type="pres">
      <dgm:prSet presAssocID="{BD547D32-8A82-4AFA-B443-655CF639AEF3}" presName="childText" presStyleLbl="conFgAcc1" presStyleIdx="1" presStyleCnt="3">
        <dgm:presLayoutVars>
          <dgm:bulletEnabled val="1"/>
        </dgm:presLayoutVars>
      </dgm:prSet>
      <dgm:spPr/>
    </dgm:pt>
    <dgm:pt modelId="{7EF427CA-A1DC-4A56-B28B-01BB37A1B73D}" type="pres">
      <dgm:prSet presAssocID="{1E57BE85-C823-4EF3-B966-F6B4AAC2FBE2}" presName="spaceBetweenRectangles" presStyleCnt="0"/>
      <dgm:spPr/>
    </dgm:pt>
    <dgm:pt modelId="{8CC74FB8-1964-44E1-AA36-FEECDFD195D7}" type="pres">
      <dgm:prSet presAssocID="{D0DFB929-AF59-451C-8AB4-C324E5A1C17A}" presName="parentLin" presStyleCnt="0"/>
      <dgm:spPr/>
    </dgm:pt>
    <dgm:pt modelId="{9B2C39D5-FA7E-4DAD-9D5B-85612490195F}" type="pres">
      <dgm:prSet presAssocID="{D0DFB929-AF59-451C-8AB4-C324E5A1C17A}" presName="parentLeftMargin" presStyleLbl="node1" presStyleIdx="1" presStyleCnt="3"/>
      <dgm:spPr/>
    </dgm:pt>
    <dgm:pt modelId="{F1481B12-F96B-4E05-BC6B-8478930FEF5C}" type="pres">
      <dgm:prSet presAssocID="{D0DFB929-AF59-451C-8AB4-C324E5A1C17A}" presName="parentText" presStyleLbl="node1" presStyleIdx="2" presStyleCnt="3">
        <dgm:presLayoutVars>
          <dgm:chMax val="0"/>
          <dgm:bulletEnabled val="1"/>
        </dgm:presLayoutVars>
      </dgm:prSet>
      <dgm:spPr/>
    </dgm:pt>
    <dgm:pt modelId="{3B69B189-8F44-4334-B4F1-6EFF9D86FBA2}" type="pres">
      <dgm:prSet presAssocID="{D0DFB929-AF59-451C-8AB4-C324E5A1C17A}" presName="negativeSpace" presStyleCnt="0"/>
      <dgm:spPr/>
    </dgm:pt>
    <dgm:pt modelId="{4B56EDFF-9421-4654-A094-7450365BA1B6}" type="pres">
      <dgm:prSet presAssocID="{D0DFB929-AF59-451C-8AB4-C324E5A1C17A}" presName="childText" presStyleLbl="conFgAcc1" presStyleIdx="2" presStyleCnt="3">
        <dgm:presLayoutVars>
          <dgm:bulletEnabled val="1"/>
        </dgm:presLayoutVars>
      </dgm:prSet>
      <dgm:spPr/>
    </dgm:pt>
  </dgm:ptLst>
  <dgm:cxnLst>
    <dgm:cxn modelId="{A79DC40B-D725-4E8E-B23A-395CF4738EE2}" srcId="{BD547D32-8A82-4AFA-B443-655CF639AEF3}" destId="{185CBA25-B83D-4250-9E7E-19062DCCCA13}" srcOrd="1" destOrd="0" parTransId="{37529963-87FB-4AD8-999A-EE9ACB45192F}" sibTransId="{C1A4DA7F-8A08-40CB-86D4-A9D2C5541D82}"/>
    <dgm:cxn modelId="{1CBBEB12-E8B9-48AD-95DD-AEA5114901BC}" type="presOf" srcId="{375A8C87-C4B4-4005-861E-A41B042DD1D6}" destId="{4B56EDFF-9421-4654-A094-7450365BA1B6}" srcOrd="0" destOrd="0" presId="urn:microsoft.com/office/officeart/2005/8/layout/list1"/>
    <dgm:cxn modelId="{9F6B7313-3294-449C-95C2-B29BE6A1239D}" srcId="{1E50989D-56E3-4AA0-A7E5-8212624F7C69}" destId="{706EE6B1-7CC8-4C9A-B92E-D3DB377AA212}" srcOrd="0" destOrd="0" parTransId="{9836E142-FEC1-46D5-A79C-07E021EF02D5}" sibTransId="{500CCEB6-0D0B-4762-8DB1-513F072FBE46}"/>
    <dgm:cxn modelId="{21FD0914-E609-420D-B889-FE3CED465DC6}" srcId="{DBBBB98E-C148-4A73-BA40-825C1DE7565E}" destId="{D0DFB929-AF59-451C-8AB4-C324E5A1C17A}" srcOrd="2" destOrd="0" parTransId="{C071B821-2292-472C-B34E-2F3CF96CF487}" sibTransId="{2B2BE62E-E335-4978-9E65-4D3D3BF35BB0}"/>
    <dgm:cxn modelId="{96908515-0992-430C-BFB7-BAD2213690FF}" srcId="{D0DFB929-AF59-451C-8AB4-C324E5A1C17A}" destId="{C723780F-9F4B-4C0B-B376-BD8975CB55C8}" srcOrd="1" destOrd="0" parTransId="{F2EAA2DA-B9A9-4297-9579-F74B99DC88F6}" sibTransId="{CC04E669-722C-4B28-B72F-5AFA5318746D}"/>
    <dgm:cxn modelId="{F9F6CF1B-32C2-452B-9A47-B40F006073B4}" type="presOf" srcId="{D0DFB929-AF59-451C-8AB4-C324E5A1C17A}" destId="{9B2C39D5-FA7E-4DAD-9D5B-85612490195F}" srcOrd="0" destOrd="0" presId="urn:microsoft.com/office/officeart/2005/8/layout/list1"/>
    <dgm:cxn modelId="{D6FA4538-2904-4A96-8A41-4ADCDA786B25}" type="presOf" srcId="{1E50989D-56E3-4AA0-A7E5-8212624F7C69}" destId="{FE5D72FD-32BF-4AE2-ACA8-290580A168D3}" srcOrd="1" destOrd="0" presId="urn:microsoft.com/office/officeart/2005/8/layout/list1"/>
    <dgm:cxn modelId="{A0C0595F-234F-47A2-84C5-B6648A88FC5C}" srcId="{BD547D32-8A82-4AFA-B443-655CF639AEF3}" destId="{EBFA624E-53FE-46C6-92A6-D8078B1BF005}" srcOrd="0" destOrd="0" parTransId="{989E4290-8FD9-4588-8F8E-373DD34599C3}" sibTransId="{915DEFB0-48CF-4ACA-9DA1-5D5CD0B0040F}"/>
    <dgm:cxn modelId="{B072E067-75B6-4BEA-BFD3-85DB87E4422F}" type="presOf" srcId="{D0DFB929-AF59-451C-8AB4-C324E5A1C17A}" destId="{F1481B12-F96B-4E05-BC6B-8478930FEF5C}" srcOrd="1" destOrd="0" presId="urn:microsoft.com/office/officeart/2005/8/layout/list1"/>
    <dgm:cxn modelId="{1C73C468-FA46-4815-B2FA-C054831AB9DC}" srcId="{DBBBB98E-C148-4A73-BA40-825C1DE7565E}" destId="{1E50989D-56E3-4AA0-A7E5-8212624F7C69}" srcOrd="0" destOrd="0" parTransId="{DCBC2806-FE57-4FF9-A63C-1BDA8C568CED}" sibTransId="{EE241621-2B3C-4C5E-B9A6-C45E85B11A97}"/>
    <dgm:cxn modelId="{AE5B7469-A6B1-4EF2-82A0-784242403C27}" type="presOf" srcId="{EBFA624E-53FE-46C6-92A6-D8078B1BF005}" destId="{A5DC065D-A216-4D8A-8BAA-A263DD53A95C}" srcOrd="0" destOrd="0" presId="urn:microsoft.com/office/officeart/2005/8/layout/list1"/>
    <dgm:cxn modelId="{0C1DF056-A3FC-471C-9FAE-3E146BF22FBA}" type="presOf" srcId="{1E50989D-56E3-4AA0-A7E5-8212624F7C69}" destId="{93BC5F52-8980-4C47-BB3A-29DF0E250D74}" srcOrd="0" destOrd="0" presId="urn:microsoft.com/office/officeart/2005/8/layout/list1"/>
    <dgm:cxn modelId="{3AF50D84-5E79-4BE0-A40D-86D90FE08012}" srcId="{D0DFB929-AF59-451C-8AB4-C324E5A1C17A}" destId="{375A8C87-C4B4-4005-861E-A41B042DD1D6}" srcOrd="0" destOrd="0" parTransId="{D29593F6-48E3-436A-9317-4950D3E041F5}" sibTransId="{5FBFFBD6-D717-4125-B153-E797E6E2998F}"/>
    <dgm:cxn modelId="{A9008C9A-C621-4356-A7FC-90D2FE233DD4}" type="presOf" srcId="{706EE6B1-7CC8-4C9A-B92E-D3DB377AA212}" destId="{EEB8589D-BD4A-49AE-87C3-4C0A359F4B92}" srcOrd="0" destOrd="0" presId="urn:microsoft.com/office/officeart/2005/8/layout/list1"/>
    <dgm:cxn modelId="{8BD839A9-8A19-49F7-B212-8275DB2F1611}" type="presOf" srcId="{DBBBB98E-C148-4A73-BA40-825C1DE7565E}" destId="{A5207788-1848-419B-9174-A9173B07446A}" srcOrd="0" destOrd="0" presId="urn:microsoft.com/office/officeart/2005/8/layout/list1"/>
    <dgm:cxn modelId="{4DBB23AA-63EF-453C-98C2-18019A74B55C}" type="presOf" srcId="{CDB2EC04-1A23-40AD-827B-6191930CAF4E}" destId="{4B56EDFF-9421-4654-A094-7450365BA1B6}" srcOrd="0" destOrd="2" presId="urn:microsoft.com/office/officeart/2005/8/layout/list1"/>
    <dgm:cxn modelId="{C1B7C3AE-72F0-47E3-9E09-DC00FF3B8AC9}" type="presOf" srcId="{BD547D32-8A82-4AFA-B443-655CF639AEF3}" destId="{45FCE905-41DE-47D8-9C0F-966CE0CBCB1F}" srcOrd="0" destOrd="0" presId="urn:microsoft.com/office/officeart/2005/8/layout/list1"/>
    <dgm:cxn modelId="{A4D152BC-2CE2-45AA-B4C6-3E28DBD90E68}" srcId="{DBBBB98E-C148-4A73-BA40-825C1DE7565E}" destId="{BD547D32-8A82-4AFA-B443-655CF639AEF3}" srcOrd="1" destOrd="0" parTransId="{D951B5A0-0447-4E7F-A043-A3A944E36680}" sibTransId="{1E57BE85-C823-4EF3-B966-F6B4AAC2FBE2}"/>
    <dgm:cxn modelId="{209A45C5-2B4D-4CF0-9D44-AADCAC161F65}" type="presOf" srcId="{185CBA25-B83D-4250-9E7E-19062DCCCA13}" destId="{A5DC065D-A216-4D8A-8BAA-A263DD53A95C}" srcOrd="0" destOrd="1" presId="urn:microsoft.com/office/officeart/2005/8/layout/list1"/>
    <dgm:cxn modelId="{3CB028D3-086F-4C11-9E39-642D936FF459}" type="presOf" srcId="{BD547D32-8A82-4AFA-B443-655CF639AEF3}" destId="{1FB297A9-E852-47A8-AEAB-9200D7CC69EB}" srcOrd="1" destOrd="0" presId="urn:microsoft.com/office/officeart/2005/8/layout/list1"/>
    <dgm:cxn modelId="{E3807DD3-1A9B-4AED-9697-214556314E2C}" type="presOf" srcId="{C723780F-9F4B-4C0B-B376-BD8975CB55C8}" destId="{4B56EDFF-9421-4654-A094-7450365BA1B6}" srcOrd="0" destOrd="1" presId="urn:microsoft.com/office/officeart/2005/8/layout/list1"/>
    <dgm:cxn modelId="{8EA699E2-BB96-4F6C-B3C0-1C5BF7D7727F}" srcId="{D0DFB929-AF59-451C-8AB4-C324E5A1C17A}" destId="{CDB2EC04-1A23-40AD-827B-6191930CAF4E}" srcOrd="2" destOrd="0" parTransId="{E36563D2-F2D8-4E01-8EA3-FF7B3009A1F3}" sibTransId="{C88DE7AB-2582-4934-A9BC-49335B547B8E}"/>
    <dgm:cxn modelId="{F5488133-8DD4-44F3-8AC6-5418E21DDE65}" type="presParOf" srcId="{A5207788-1848-419B-9174-A9173B07446A}" destId="{5D065949-85A2-48B1-9238-2D696FAA163C}" srcOrd="0" destOrd="0" presId="urn:microsoft.com/office/officeart/2005/8/layout/list1"/>
    <dgm:cxn modelId="{13572EAF-8383-4B51-8CCC-E6876739934F}" type="presParOf" srcId="{5D065949-85A2-48B1-9238-2D696FAA163C}" destId="{93BC5F52-8980-4C47-BB3A-29DF0E250D74}" srcOrd="0" destOrd="0" presId="urn:microsoft.com/office/officeart/2005/8/layout/list1"/>
    <dgm:cxn modelId="{1642EA79-B4DB-4A69-9A74-C9F1BC2086AB}" type="presParOf" srcId="{5D065949-85A2-48B1-9238-2D696FAA163C}" destId="{FE5D72FD-32BF-4AE2-ACA8-290580A168D3}" srcOrd="1" destOrd="0" presId="urn:microsoft.com/office/officeart/2005/8/layout/list1"/>
    <dgm:cxn modelId="{F95F3F41-058E-4253-A2F9-2154E93EC0FF}" type="presParOf" srcId="{A5207788-1848-419B-9174-A9173B07446A}" destId="{96195342-73ED-4573-8ECF-1AF902A6FD33}" srcOrd="1" destOrd="0" presId="urn:microsoft.com/office/officeart/2005/8/layout/list1"/>
    <dgm:cxn modelId="{A4443553-1A60-4608-AA1A-71181B4E7117}" type="presParOf" srcId="{A5207788-1848-419B-9174-A9173B07446A}" destId="{EEB8589D-BD4A-49AE-87C3-4C0A359F4B92}" srcOrd="2" destOrd="0" presId="urn:microsoft.com/office/officeart/2005/8/layout/list1"/>
    <dgm:cxn modelId="{0E8D7423-3CFD-4AA3-8363-98D3413BF048}" type="presParOf" srcId="{A5207788-1848-419B-9174-A9173B07446A}" destId="{0C0BE48C-F8FD-40AF-A28C-A4CA91521AB4}" srcOrd="3" destOrd="0" presId="urn:microsoft.com/office/officeart/2005/8/layout/list1"/>
    <dgm:cxn modelId="{5188F7E0-5512-41D5-9CB9-1830EF7BBD99}" type="presParOf" srcId="{A5207788-1848-419B-9174-A9173B07446A}" destId="{FD70FE63-E4F3-487B-96A8-52F8FBB8AAE8}" srcOrd="4" destOrd="0" presId="urn:microsoft.com/office/officeart/2005/8/layout/list1"/>
    <dgm:cxn modelId="{7FF3A3AB-DAB1-4E07-A3B8-E5499A4C9014}" type="presParOf" srcId="{FD70FE63-E4F3-487B-96A8-52F8FBB8AAE8}" destId="{45FCE905-41DE-47D8-9C0F-966CE0CBCB1F}" srcOrd="0" destOrd="0" presId="urn:microsoft.com/office/officeart/2005/8/layout/list1"/>
    <dgm:cxn modelId="{78E4F23B-9CC1-4C65-BAA1-E845154997B8}" type="presParOf" srcId="{FD70FE63-E4F3-487B-96A8-52F8FBB8AAE8}" destId="{1FB297A9-E852-47A8-AEAB-9200D7CC69EB}" srcOrd="1" destOrd="0" presId="urn:microsoft.com/office/officeart/2005/8/layout/list1"/>
    <dgm:cxn modelId="{98740761-BCD4-402F-993D-F298E4658417}" type="presParOf" srcId="{A5207788-1848-419B-9174-A9173B07446A}" destId="{4CBD5BE1-6E4B-4383-BCCB-A285F6B6575B}" srcOrd="5" destOrd="0" presId="urn:microsoft.com/office/officeart/2005/8/layout/list1"/>
    <dgm:cxn modelId="{CBC644A1-A49C-4030-8E73-5867D1196136}" type="presParOf" srcId="{A5207788-1848-419B-9174-A9173B07446A}" destId="{A5DC065D-A216-4D8A-8BAA-A263DD53A95C}" srcOrd="6" destOrd="0" presId="urn:microsoft.com/office/officeart/2005/8/layout/list1"/>
    <dgm:cxn modelId="{DD416C46-5063-4999-8D81-7F4331E873F1}" type="presParOf" srcId="{A5207788-1848-419B-9174-A9173B07446A}" destId="{7EF427CA-A1DC-4A56-B28B-01BB37A1B73D}" srcOrd="7" destOrd="0" presId="urn:microsoft.com/office/officeart/2005/8/layout/list1"/>
    <dgm:cxn modelId="{ACBE204F-DD9E-4549-BD26-4197A7C4CE95}" type="presParOf" srcId="{A5207788-1848-419B-9174-A9173B07446A}" destId="{8CC74FB8-1964-44E1-AA36-FEECDFD195D7}" srcOrd="8" destOrd="0" presId="urn:microsoft.com/office/officeart/2005/8/layout/list1"/>
    <dgm:cxn modelId="{96C5EE6C-1F33-422C-A99C-6A5E7587FD06}" type="presParOf" srcId="{8CC74FB8-1964-44E1-AA36-FEECDFD195D7}" destId="{9B2C39D5-FA7E-4DAD-9D5B-85612490195F}" srcOrd="0" destOrd="0" presId="urn:microsoft.com/office/officeart/2005/8/layout/list1"/>
    <dgm:cxn modelId="{84EA57F0-0BD4-4CA4-8943-570BE877442F}" type="presParOf" srcId="{8CC74FB8-1964-44E1-AA36-FEECDFD195D7}" destId="{F1481B12-F96B-4E05-BC6B-8478930FEF5C}" srcOrd="1" destOrd="0" presId="urn:microsoft.com/office/officeart/2005/8/layout/list1"/>
    <dgm:cxn modelId="{6CE36756-4810-4B4A-B95F-844C0F5B2D57}" type="presParOf" srcId="{A5207788-1848-419B-9174-A9173B07446A}" destId="{3B69B189-8F44-4334-B4F1-6EFF9D86FBA2}" srcOrd="9" destOrd="0" presId="urn:microsoft.com/office/officeart/2005/8/layout/list1"/>
    <dgm:cxn modelId="{37A1100A-F6FE-455A-A5FD-97B0D7A73E34}" type="presParOf" srcId="{A5207788-1848-419B-9174-A9173B07446A}" destId="{4B56EDFF-9421-4654-A094-7450365BA1B6}"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41B3EA7-9E3E-422B-B305-7DB343CBFE9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67EA654-F9DC-4603-92FF-6147EB6086AF}">
      <dgm:prSet/>
      <dgm:spPr/>
      <dgm:t>
        <a:bodyPr/>
        <a:lstStyle/>
        <a:p>
          <a:r>
            <a:rPr lang="en-US" baseline="0" dirty="0"/>
            <a:t>Methods used to extract data from each table.</a:t>
          </a:r>
          <a:endParaRPr lang="en-US" dirty="0"/>
        </a:p>
      </dgm:t>
    </dgm:pt>
    <dgm:pt modelId="{28AEDF60-A918-419D-869D-36A653952D78}" type="parTrans" cxnId="{B477BF3F-ECD1-4855-81CB-CD229A532DD3}">
      <dgm:prSet/>
      <dgm:spPr/>
      <dgm:t>
        <a:bodyPr/>
        <a:lstStyle/>
        <a:p>
          <a:endParaRPr lang="en-US"/>
        </a:p>
      </dgm:t>
    </dgm:pt>
    <dgm:pt modelId="{BFC65BCB-AD65-476E-B1E2-ED5F4B8FB47E}" type="sibTrans" cxnId="{B477BF3F-ECD1-4855-81CB-CD229A532DD3}">
      <dgm:prSet/>
      <dgm:spPr/>
      <dgm:t>
        <a:bodyPr/>
        <a:lstStyle/>
        <a:p>
          <a:endParaRPr lang="en-US"/>
        </a:p>
      </dgm:t>
    </dgm:pt>
    <dgm:pt modelId="{A024EB79-F72A-45AB-B424-82E713F7BBD5}">
      <dgm:prSet/>
      <dgm:spPr/>
      <dgm:t>
        <a:bodyPr/>
        <a:lstStyle/>
        <a:p>
          <a:r>
            <a:rPr lang="en-US" baseline="0" dirty="0"/>
            <a:t>How data is joined</a:t>
          </a:r>
          <a:endParaRPr lang="en-US" dirty="0"/>
        </a:p>
      </dgm:t>
    </dgm:pt>
    <dgm:pt modelId="{DAABAA82-BCC2-411C-A04D-541892C3881B}" type="parTrans" cxnId="{C3EDCEC4-0CD8-46EE-8F38-82CFEEA560B8}">
      <dgm:prSet/>
      <dgm:spPr/>
      <dgm:t>
        <a:bodyPr/>
        <a:lstStyle/>
        <a:p>
          <a:endParaRPr lang="en-US"/>
        </a:p>
      </dgm:t>
    </dgm:pt>
    <dgm:pt modelId="{D1351729-EC09-4898-9C62-789456B4A686}" type="sibTrans" cxnId="{C3EDCEC4-0CD8-46EE-8F38-82CFEEA560B8}">
      <dgm:prSet/>
      <dgm:spPr/>
      <dgm:t>
        <a:bodyPr/>
        <a:lstStyle/>
        <a:p>
          <a:endParaRPr lang="en-US"/>
        </a:p>
      </dgm:t>
    </dgm:pt>
    <dgm:pt modelId="{7ED08583-E553-4585-87A7-1FAC73EA6217}">
      <dgm:prSet/>
      <dgm:spPr/>
      <dgm:t>
        <a:bodyPr/>
        <a:lstStyle/>
        <a:p>
          <a:r>
            <a:rPr lang="en-US" baseline="0" dirty="0"/>
            <a:t>Use of temporary worktables and sorts</a:t>
          </a:r>
          <a:endParaRPr lang="en-US" dirty="0"/>
        </a:p>
      </dgm:t>
    </dgm:pt>
    <dgm:pt modelId="{F80C6096-7F00-46B9-9573-DA750C236400}" type="parTrans" cxnId="{B8A12D62-CB1A-4760-B2B8-69982711202F}">
      <dgm:prSet/>
      <dgm:spPr/>
      <dgm:t>
        <a:bodyPr/>
        <a:lstStyle/>
        <a:p>
          <a:endParaRPr lang="en-US"/>
        </a:p>
      </dgm:t>
    </dgm:pt>
    <dgm:pt modelId="{0DECED85-5364-4CA7-AC33-01C69D0CAEA6}" type="sibTrans" cxnId="{B8A12D62-CB1A-4760-B2B8-69982711202F}">
      <dgm:prSet/>
      <dgm:spPr/>
      <dgm:t>
        <a:bodyPr/>
        <a:lstStyle/>
        <a:p>
          <a:endParaRPr lang="en-US"/>
        </a:p>
      </dgm:t>
    </dgm:pt>
    <dgm:pt modelId="{32D5514A-6887-4FD8-B3CA-9187C2899652}">
      <dgm:prSet/>
      <dgm:spPr/>
      <dgm:t>
        <a:bodyPr/>
        <a:lstStyle/>
        <a:p>
          <a:r>
            <a:rPr lang="en-US" baseline="0" dirty="0"/>
            <a:t>Estimated rowcount, iterations, and costs from each operator</a:t>
          </a:r>
          <a:endParaRPr lang="en-US" dirty="0"/>
        </a:p>
      </dgm:t>
    </dgm:pt>
    <dgm:pt modelId="{AB7786C8-A81E-4C98-8B93-CE382E771F60}" type="parTrans" cxnId="{59D85305-754B-4D32-B26A-3C62AE8F275E}">
      <dgm:prSet/>
      <dgm:spPr/>
      <dgm:t>
        <a:bodyPr/>
        <a:lstStyle/>
        <a:p>
          <a:endParaRPr lang="en-US"/>
        </a:p>
      </dgm:t>
    </dgm:pt>
    <dgm:pt modelId="{B15DE607-BBF1-4202-8042-06FE3173DE46}" type="sibTrans" cxnId="{59D85305-754B-4D32-B26A-3C62AE8F275E}">
      <dgm:prSet/>
      <dgm:spPr/>
      <dgm:t>
        <a:bodyPr/>
        <a:lstStyle/>
        <a:p>
          <a:endParaRPr lang="en-US"/>
        </a:p>
      </dgm:t>
    </dgm:pt>
    <dgm:pt modelId="{DCA9FB7A-0CD4-4AD0-BFFF-3D1AA5884586}">
      <dgm:prSet/>
      <dgm:spPr/>
      <dgm:t>
        <a:bodyPr/>
        <a:lstStyle/>
        <a:p>
          <a:r>
            <a:rPr lang="en-US" baseline="0" dirty="0"/>
            <a:t>Actual rowcount and iterations</a:t>
          </a:r>
          <a:endParaRPr lang="en-US" dirty="0"/>
        </a:p>
      </dgm:t>
    </dgm:pt>
    <dgm:pt modelId="{2AEEB71B-3CB7-49A4-97DE-7FB9298C71E3}" type="parTrans" cxnId="{67FA18C7-911C-4FDD-8A04-906EA440E891}">
      <dgm:prSet/>
      <dgm:spPr/>
      <dgm:t>
        <a:bodyPr/>
        <a:lstStyle/>
        <a:p>
          <a:endParaRPr lang="en-US"/>
        </a:p>
      </dgm:t>
    </dgm:pt>
    <dgm:pt modelId="{843468F2-33B6-43D3-9A0F-E80503A134FE}" type="sibTrans" cxnId="{67FA18C7-911C-4FDD-8A04-906EA440E891}">
      <dgm:prSet/>
      <dgm:spPr/>
      <dgm:t>
        <a:bodyPr/>
        <a:lstStyle/>
        <a:p>
          <a:endParaRPr lang="en-US"/>
        </a:p>
      </dgm:t>
    </dgm:pt>
    <dgm:pt modelId="{A4C23E06-FCE3-4E7C-8D68-0AFD1119EA31}">
      <dgm:prSet/>
      <dgm:spPr/>
      <dgm:t>
        <a:bodyPr/>
        <a:lstStyle/>
        <a:p>
          <a:r>
            <a:rPr lang="en-US" baseline="0"/>
            <a:t>Sequence in which the source tables are accessed.</a:t>
          </a:r>
          <a:endParaRPr lang="en-US" dirty="0"/>
        </a:p>
      </dgm:t>
    </dgm:pt>
    <dgm:pt modelId="{1746E474-C6C2-474B-A472-571DAC510561}" type="sibTrans" cxnId="{235BB0DF-7438-4492-93F0-C3C39845F133}">
      <dgm:prSet/>
      <dgm:spPr/>
      <dgm:t>
        <a:bodyPr/>
        <a:lstStyle/>
        <a:p>
          <a:endParaRPr lang="en-US"/>
        </a:p>
      </dgm:t>
    </dgm:pt>
    <dgm:pt modelId="{6F50769C-C800-4DD3-945E-2A50E7F83803}" type="parTrans" cxnId="{235BB0DF-7438-4492-93F0-C3C39845F133}">
      <dgm:prSet/>
      <dgm:spPr/>
      <dgm:t>
        <a:bodyPr/>
        <a:lstStyle/>
        <a:p>
          <a:endParaRPr lang="en-US"/>
        </a:p>
      </dgm:t>
    </dgm:pt>
    <dgm:pt modelId="{C4FE8172-4035-479E-8E6A-EE58EDEAD396}" type="pres">
      <dgm:prSet presAssocID="{941B3EA7-9E3E-422B-B305-7DB343CBFE91}" presName="linear" presStyleCnt="0">
        <dgm:presLayoutVars>
          <dgm:animLvl val="lvl"/>
          <dgm:resizeHandles val="exact"/>
        </dgm:presLayoutVars>
      </dgm:prSet>
      <dgm:spPr/>
    </dgm:pt>
    <dgm:pt modelId="{8F8CB167-03AF-4887-8026-86E2309610B7}" type="pres">
      <dgm:prSet presAssocID="{A4C23E06-FCE3-4E7C-8D68-0AFD1119EA31}" presName="parentText" presStyleLbl="node1" presStyleIdx="0" presStyleCnt="6">
        <dgm:presLayoutVars>
          <dgm:chMax val="0"/>
          <dgm:bulletEnabled val="1"/>
        </dgm:presLayoutVars>
      </dgm:prSet>
      <dgm:spPr/>
    </dgm:pt>
    <dgm:pt modelId="{046CD76D-3039-498F-8976-565FE10EAD5D}" type="pres">
      <dgm:prSet presAssocID="{1746E474-C6C2-474B-A472-571DAC510561}" presName="spacer" presStyleCnt="0"/>
      <dgm:spPr/>
    </dgm:pt>
    <dgm:pt modelId="{1BF1DD65-B7B5-4756-B381-D847D027B224}" type="pres">
      <dgm:prSet presAssocID="{067EA654-F9DC-4603-92FF-6147EB6086AF}" presName="parentText" presStyleLbl="node1" presStyleIdx="1" presStyleCnt="6">
        <dgm:presLayoutVars>
          <dgm:chMax val="0"/>
          <dgm:bulletEnabled val="1"/>
        </dgm:presLayoutVars>
      </dgm:prSet>
      <dgm:spPr/>
    </dgm:pt>
    <dgm:pt modelId="{1C1CBA70-CD11-42C9-971A-306A5ACD1BAC}" type="pres">
      <dgm:prSet presAssocID="{BFC65BCB-AD65-476E-B1E2-ED5F4B8FB47E}" presName="spacer" presStyleCnt="0"/>
      <dgm:spPr/>
    </dgm:pt>
    <dgm:pt modelId="{E2B42D5B-6516-495F-8411-9442A5C6E88C}" type="pres">
      <dgm:prSet presAssocID="{A024EB79-F72A-45AB-B424-82E713F7BBD5}" presName="parentText" presStyleLbl="node1" presStyleIdx="2" presStyleCnt="6">
        <dgm:presLayoutVars>
          <dgm:chMax val="0"/>
          <dgm:bulletEnabled val="1"/>
        </dgm:presLayoutVars>
      </dgm:prSet>
      <dgm:spPr/>
    </dgm:pt>
    <dgm:pt modelId="{0FFAC56E-234F-445E-AA08-C3B653CF72D2}" type="pres">
      <dgm:prSet presAssocID="{D1351729-EC09-4898-9C62-789456B4A686}" presName="spacer" presStyleCnt="0"/>
      <dgm:spPr/>
    </dgm:pt>
    <dgm:pt modelId="{917DD80E-0FAD-4AFE-A87D-E4174719CD00}" type="pres">
      <dgm:prSet presAssocID="{7ED08583-E553-4585-87A7-1FAC73EA6217}" presName="parentText" presStyleLbl="node1" presStyleIdx="3" presStyleCnt="6">
        <dgm:presLayoutVars>
          <dgm:chMax val="0"/>
          <dgm:bulletEnabled val="1"/>
        </dgm:presLayoutVars>
      </dgm:prSet>
      <dgm:spPr/>
    </dgm:pt>
    <dgm:pt modelId="{A41CEDAA-05C5-45A9-985C-DED68BD824BC}" type="pres">
      <dgm:prSet presAssocID="{0DECED85-5364-4CA7-AC33-01C69D0CAEA6}" presName="spacer" presStyleCnt="0"/>
      <dgm:spPr/>
    </dgm:pt>
    <dgm:pt modelId="{0E6CE36D-721F-4764-947B-14CCC6759F7D}" type="pres">
      <dgm:prSet presAssocID="{32D5514A-6887-4FD8-B3CA-9187C2899652}" presName="parentText" presStyleLbl="node1" presStyleIdx="4" presStyleCnt="6">
        <dgm:presLayoutVars>
          <dgm:chMax val="0"/>
          <dgm:bulletEnabled val="1"/>
        </dgm:presLayoutVars>
      </dgm:prSet>
      <dgm:spPr/>
    </dgm:pt>
    <dgm:pt modelId="{706DFD50-8D76-4168-915F-7B88F8879823}" type="pres">
      <dgm:prSet presAssocID="{B15DE607-BBF1-4202-8042-06FE3173DE46}" presName="spacer" presStyleCnt="0"/>
      <dgm:spPr/>
    </dgm:pt>
    <dgm:pt modelId="{32B0EE26-375F-484C-AA91-7A1D4825F8FD}" type="pres">
      <dgm:prSet presAssocID="{DCA9FB7A-0CD4-4AD0-BFFF-3D1AA5884586}" presName="parentText" presStyleLbl="node1" presStyleIdx="5" presStyleCnt="6">
        <dgm:presLayoutVars>
          <dgm:chMax val="0"/>
          <dgm:bulletEnabled val="1"/>
        </dgm:presLayoutVars>
      </dgm:prSet>
      <dgm:spPr/>
    </dgm:pt>
  </dgm:ptLst>
  <dgm:cxnLst>
    <dgm:cxn modelId="{59D85305-754B-4D32-B26A-3C62AE8F275E}" srcId="{941B3EA7-9E3E-422B-B305-7DB343CBFE91}" destId="{32D5514A-6887-4FD8-B3CA-9187C2899652}" srcOrd="4" destOrd="0" parTransId="{AB7786C8-A81E-4C98-8B93-CE382E771F60}" sibTransId="{B15DE607-BBF1-4202-8042-06FE3173DE46}"/>
    <dgm:cxn modelId="{5AFE152C-9266-435B-807F-21A21A2F6243}" type="presOf" srcId="{7ED08583-E553-4585-87A7-1FAC73EA6217}" destId="{917DD80E-0FAD-4AFE-A87D-E4174719CD00}" srcOrd="0" destOrd="0" presId="urn:microsoft.com/office/officeart/2005/8/layout/vList2"/>
    <dgm:cxn modelId="{306B2932-12B0-481A-A0D7-4E7E72972ACA}" type="presOf" srcId="{A024EB79-F72A-45AB-B424-82E713F7BBD5}" destId="{E2B42D5B-6516-495F-8411-9442A5C6E88C}" srcOrd="0" destOrd="0" presId="urn:microsoft.com/office/officeart/2005/8/layout/vList2"/>
    <dgm:cxn modelId="{B477BF3F-ECD1-4855-81CB-CD229A532DD3}" srcId="{941B3EA7-9E3E-422B-B305-7DB343CBFE91}" destId="{067EA654-F9DC-4603-92FF-6147EB6086AF}" srcOrd="1" destOrd="0" parTransId="{28AEDF60-A918-419D-869D-36A653952D78}" sibTransId="{BFC65BCB-AD65-476E-B1E2-ED5F4B8FB47E}"/>
    <dgm:cxn modelId="{2FDFCC5F-F66F-41A0-BA71-6B61B6390D41}" type="presOf" srcId="{067EA654-F9DC-4603-92FF-6147EB6086AF}" destId="{1BF1DD65-B7B5-4756-B381-D847D027B224}" srcOrd="0" destOrd="0" presId="urn:microsoft.com/office/officeart/2005/8/layout/vList2"/>
    <dgm:cxn modelId="{B8A12D62-CB1A-4760-B2B8-69982711202F}" srcId="{941B3EA7-9E3E-422B-B305-7DB343CBFE91}" destId="{7ED08583-E553-4585-87A7-1FAC73EA6217}" srcOrd="3" destOrd="0" parTransId="{F80C6096-7F00-46B9-9573-DA750C236400}" sibTransId="{0DECED85-5364-4CA7-AC33-01C69D0CAEA6}"/>
    <dgm:cxn modelId="{69C8D74D-7AF4-4ABC-87D4-E4BCEC17E794}" type="presOf" srcId="{32D5514A-6887-4FD8-B3CA-9187C2899652}" destId="{0E6CE36D-721F-4764-947B-14CCC6759F7D}" srcOrd="0" destOrd="0" presId="urn:microsoft.com/office/officeart/2005/8/layout/vList2"/>
    <dgm:cxn modelId="{3EE2E5C3-2E07-4451-812A-0FC253FF528C}" type="presOf" srcId="{941B3EA7-9E3E-422B-B305-7DB343CBFE91}" destId="{C4FE8172-4035-479E-8E6A-EE58EDEAD396}" srcOrd="0" destOrd="0" presId="urn:microsoft.com/office/officeart/2005/8/layout/vList2"/>
    <dgm:cxn modelId="{C3EDCEC4-0CD8-46EE-8F38-82CFEEA560B8}" srcId="{941B3EA7-9E3E-422B-B305-7DB343CBFE91}" destId="{A024EB79-F72A-45AB-B424-82E713F7BBD5}" srcOrd="2" destOrd="0" parTransId="{DAABAA82-BCC2-411C-A04D-541892C3881B}" sibTransId="{D1351729-EC09-4898-9C62-789456B4A686}"/>
    <dgm:cxn modelId="{67FA18C7-911C-4FDD-8A04-906EA440E891}" srcId="{941B3EA7-9E3E-422B-B305-7DB343CBFE91}" destId="{DCA9FB7A-0CD4-4AD0-BFFF-3D1AA5884586}" srcOrd="5" destOrd="0" parTransId="{2AEEB71B-3CB7-49A4-97DE-7FB9298C71E3}" sibTransId="{843468F2-33B6-43D3-9A0F-E80503A134FE}"/>
    <dgm:cxn modelId="{3CC391D7-CF68-4557-9BC8-B65B11DB0F46}" type="presOf" srcId="{A4C23E06-FCE3-4E7C-8D68-0AFD1119EA31}" destId="{8F8CB167-03AF-4887-8026-86E2309610B7}" srcOrd="0" destOrd="0" presId="urn:microsoft.com/office/officeart/2005/8/layout/vList2"/>
    <dgm:cxn modelId="{235BB0DF-7438-4492-93F0-C3C39845F133}" srcId="{941B3EA7-9E3E-422B-B305-7DB343CBFE91}" destId="{A4C23E06-FCE3-4E7C-8D68-0AFD1119EA31}" srcOrd="0" destOrd="0" parTransId="{6F50769C-C800-4DD3-945E-2A50E7F83803}" sibTransId="{1746E474-C6C2-474B-A472-571DAC510561}"/>
    <dgm:cxn modelId="{4F583AED-5981-435D-AE8F-447E9D140932}" type="presOf" srcId="{DCA9FB7A-0CD4-4AD0-BFFF-3D1AA5884586}" destId="{32B0EE26-375F-484C-AA91-7A1D4825F8FD}" srcOrd="0" destOrd="0" presId="urn:microsoft.com/office/officeart/2005/8/layout/vList2"/>
    <dgm:cxn modelId="{C784994C-8E0D-4127-8255-3932A8C6C125}" type="presParOf" srcId="{C4FE8172-4035-479E-8E6A-EE58EDEAD396}" destId="{8F8CB167-03AF-4887-8026-86E2309610B7}" srcOrd="0" destOrd="0" presId="urn:microsoft.com/office/officeart/2005/8/layout/vList2"/>
    <dgm:cxn modelId="{7D8EA829-2DF9-4EF7-B53A-7B5857DA5BDC}" type="presParOf" srcId="{C4FE8172-4035-479E-8E6A-EE58EDEAD396}" destId="{046CD76D-3039-498F-8976-565FE10EAD5D}" srcOrd="1" destOrd="0" presId="urn:microsoft.com/office/officeart/2005/8/layout/vList2"/>
    <dgm:cxn modelId="{8862D0B1-FC61-4532-B883-DDE85CA34ED3}" type="presParOf" srcId="{C4FE8172-4035-479E-8E6A-EE58EDEAD396}" destId="{1BF1DD65-B7B5-4756-B381-D847D027B224}" srcOrd="2" destOrd="0" presId="urn:microsoft.com/office/officeart/2005/8/layout/vList2"/>
    <dgm:cxn modelId="{CDD105FC-2187-4029-9F45-AF6FA683F0A4}" type="presParOf" srcId="{C4FE8172-4035-479E-8E6A-EE58EDEAD396}" destId="{1C1CBA70-CD11-42C9-971A-306A5ACD1BAC}" srcOrd="3" destOrd="0" presId="urn:microsoft.com/office/officeart/2005/8/layout/vList2"/>
    <dgm:cxn modelId="{E6AA64D8-D849-4B8B-849B-D0559D511288}" type="presParOf" srcId="{C4FE8172-4035-479E-8E6A-EE58EDEAD396}" destId="{E2B42D5B-6516-495F-8411-9442A5C6E88C}" srcOrd="4" destOrd="0" presId="urn:microsoft.com/office/officeart/2005/8/layout/vList2"/>
    <dgm:cxn modelId="{A71A7797-DE5D-465D-919D-8CE439B9069C}" type="presParOf" srcId="{C4FE8172-4035-479E-8E6A-EE58EDEAD396}" destId="{0FFAC56E-234F-445E-AA08-C3B653CF72D2}" srcOrd="5" destOrd="0" presId="urn:microsoft.com/office/officeart/2005/8/layout/vList2"/>
    <dgm:cxn modelId="{4B14E7AF-CC6B-42B9-989B-9667447FB1B9}" type="presParOf" srcId="{C4FE8172-4035-479E-8E6A-EE58EDEAD396}" destId="{917DD80E-0FAD-4AFE-A87D-E4174719CD00}" srcOrd="6" destOrd="0" presId="urn:microsoft.com/office/officeart/2005/8/layout/vList2"/>
    <dgm:cxn modelId="{08EC768D-573C-4ED8-A73B-ABB09039DFE6}" type="presParOf" srcId="{C4FE8172-4035-479E-8E6A-EE58EDEAD396}" destId="{A41CEDAA-05C5-45A9-985C-DED68BD824BC}" srcOrd="7" destOrd="0" presId="urn:microsoft.com/office/officeart/2005/8/layout/vList2"/>
    <dgm:cxn modelId="{1567D0D3-8E44-438E-B204-5241C41F1418}" type="presParOf" srcId="{C4FE8172-4035-479E-8E6A-EE58EDEAD396}" destId="{0E6CE36D-721F-4764-947B-14CCC6759F7D}" srcOrd="8" destOrd="0" presId="urn:microsoft.com/office/officeart/2005/8/layout/vList2"/>
    <dgm:cxn modelId="{83D2EB1D-949B-40F2-A6AF-761081EA63B3}" type="presParOf" srcId="{C4FE8172-4035-479E-8E6A-EE58EDEAD396}" destId="{706DFD50-8D76-4168-915F-7B88F8879823}" srcOrd="9" destOrd="0" presId="urn:microsoft.com/office/officeart/2005/8/layout/vList2"/>
    <dgm:cxn modelId="{D9C68C6D-D676-4232-B877-47AB3C5B2A91}" type="presParOf" srcId="{C4FE8172-4035-479E-8E6A-EE58EDEAD396}" destId="{32B0EE26-375F-484C-AA91-7A1D4825F8FD}"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BBBB98E-C148-4A73-BA40-825C1DE7565E}"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45AC514D-456D-4A80-8060-97C929D5456E}">
      <dgm:prSet custT="1"/>
      <dgm:spPr/>
      <dgm:t>
        <a:bodyPr/>
        <a:lstStyle/>
        <a:p>
          <a:r>
            <a:rPr lang="en-US" sz="2000"/>
            <a:t>Top Left </a:t>
          </a:r>
          <a:r>
            <a:rPr lang="en-US" sz="2000" dirty="0"/>
            <a:t>Operator</a:t>
          </a:r>
        </a:p>
      </dgm:t>
    </dgm:pt>
    <dgm:pt modelId="{AF546781-AD10-4611-A686-88259B1E24AF}" type="parTrans" cxnId="{58A3D8F2-266D-4EB3-BD2D-C30775A465A5}">
      <dgm:prSet/>
      <dgm:spPr/>
      <dgm:t>
        <a:bodyPr/>
        <a:lstStyle/>
        <a:p>
          <a:endParaRPr lang="en-US"/>
        </a:p>
      </dgm:t>
    </dgm:pt>
    <dgm:pt modelId="{A5FEC858-2B6C-4D12-8F66-722F208EFC90}" type="sibTrans" cxnId="{58A3D8F2-266D-4EB3-BD2D-C30775A465A5}">
      <dgm:prSet/>
      <dgm:spPr/>
      <dgm:t>
        <a:bodyPr/>
        <a:lstStyle/>
        <a:p>
          <a:endParaRPr lang="en-US"/>
        </a:p>
      </dgm:t>
    </dgm:pt>
    <dgm:pt modelId="{CDFE379C-4C17-4418-97A8-986BA6102648}">
      <dgm:prSet custT="1"/>
      <dgm:spPr/>
      <dgm:t>
        <a:bodyPr/>
        <a:lstStyle/>
        <a:p>
          <a:r>
            <a:rPr lang="en-US" sz="2000" dirty="0"/>
            <a:t>Expensive Operators</a:t>
          </a:r>
        </a:p>
      </dgm:t>
    </dgm:pt>
    <dgm:pt modelId="{6190EAA5-0DF7-402E-BA73-162ADDD708C7}" type="parTrans" cxnId="{E814A3A7-D44A-4CF7-BB88-4A2936DEEC5D}">
      <dgm:prSet/>
      <dgm:spPr/>
      <dgm:t>
        <a:bodyPr/>
        <a:lstStyle/>
        <a:p>
          <a:endParaRPr lang="en-US"/>
        </a:p>
      </dgm:t>
    </dgm:pt>
    <dgm:pt modelId="{7BBC5D6A-3C2C-4D72-8165-791F43F7AD1A}" type="sibTrans" cxnId="{E814A3A7-D44A-4CF7-BB88-4A2936DEEC5D}">
      <dgm:prSet/>
      <dgm:spPr/>
      <dgm:t>
        <a:bodyPr/>
        <a:lstStyle/>
        <a:p>
          <a:endParaRPr lang="en-US"/>
        </a:p>
      </dgm:t>
    </dgm:pt>
    <dgm:pt modelId="{C9A9EAA2-5D61-42FF-97CD-08B72DE6DEE1}">
      <dgm:prSet custT="1"/>
      <dgm:spPr/>
      <dgm:t>
        <a:bodyPr/>
        <a:lstStyle/>
        <a:p>
          <a:r>
            <a:rPr lang="en-US" sz="2000" dirty="0"/>
            <a:t>Nested Loop Operator</a:t>
          </a:r>
        </a:p>
      </dgm:t>
    </dgm:pt>
    <dgm:pt modelId="{3BD33D60-B273-4A52-BAE8-3523F606746A}" type="parTrans" cxnId="{C81356CE-E846-4B95-9885-509F493768BD}">
      <dgm:prSet/>
      <dgm:spPr/>
      <dgm:t>
        <a:bodyPr/>
        <a:lstStyle/>
        <a:p>
          <a:endParaRPr lang="en-US"/>
        </a:p>
      </dgm:t>
    </dgm:pt>
    <dgm:pt modelId="{22BB8E13-2911-43B2-88B3-CFBC4009A10E}" type="sibTrans" cxnId="{C81356CE-E846-4B95-9885-509F493768BD}">
      <dgm:prSet/>
      <dgm:spPr/>
      <dgm:t>
        <a:bodyPr/>
        <a:lstStyle/>
        <a:p>
          <a:endParaRPr lang="en-US"/>
        </a:p>
      </dgm:t>
    </dgm:pt>
    <dgm:pt modelId="{2230DC4C-F013-4335-9EBE-B24703AAAB5D}">
      <dgm:prSet custT="1"/>
      <dgm:spPr/>
      <dgm:t>
        <a:bodyPr/>
        <a:lstStyle/>
        <a:p>
          <a:r>
            <a:rPr lang="en-US" sz="2000" dirty="0"/>
            <a:t>Scans vs Seeks</a:t>
          </a:r>
        </a:p>
      </dgm:t>
    </dgm:pt>
    <dgm:pt modelId="{422B594C-C40B-4200-A2E1-314BDF756B7F}" type="parTrans" cxnId="{49D18340-0CB6-47D7-80E8-442236968955}">
      <dgm:prSet/>
      <dgm:spPr/>
      <dgm:t>
        <a:bodyPr/>
        <a:lstStyle/>
        <a:p>
          <a:endParaRPr lang="en-US"/>
        </a:p>
      </dgm:t>
    </dgm:pt>
    <dgm:pt modelId="{677AAFD1-4A00-4358-8D10-5C2CB55122F3}" type="sibTrans" cxnId="{49D18340-0CB6-47D7-80E8-442236968955}">
      <dgm:prSet/>
      <dgm:spPr/>
      <dgm:t>
        <a:bodyPr/>
        <a:lstStyle/>
        <a:p>
          <a:endParaRPr lang="en-US"/>
        </a:p>
      </dgm:t>
    </dgm:pt>
    <dgm:pt modelId="{F7C2BA91-D799-493F-B68A-87797357D65B}">
      <dgm:prSet custT="1"/>
      <dgm:spPr/>
      <dgm:t>
        <a:bodyPr/>
        <a:lstStyle/>
        <a:p>
          <a:r>
            <a:rPr lang="en-US" sz="2000" dirty="0"/>
            <a:t>Skewed Estimates</a:t>
          </a:r>
        </a:p>
      </dgm:t>
    </dgm:pt>
    <dgm:pt modelId="{B96E8DAB-9ACA-419A-BC9A-DF33FEFAFAF4}" type="parTrans" cxnId="{8AD6EADA-5A1D-4DFD-88B6-8F07034D5F0B}">
      <dgm:prSet/>
      <dgm:spPr/>
      <dgm:t>
        <a:bodyPr/>
        <a:lstStyle/>
        <a:p>
          <a:endParaRPr lang="en-US"/>
        </a:p>
      </dgm:t>
    </dgm:pt>
    <dgm:pt modelId="{97D9ED13-153A-4099-9B1C-1A5EB78BD503}" type="sibTrans" cxnId="{8AD6EADA-5A1D-4DFD-88B6-8F07034D5F0B}">
      <dgm:prSet/>
      <dgm:spPr/>
      <dgm:t>
        <a:bodyPr/>
        <a:lstStyle/>
        <a:p>
          <a:endParaRPr lang="en-US"/>
        </a:p>
      </dgm:t>
    </dgm:pt>
    <dgm:pt modelId="{92FC081A-F06D-47C6-A27F-B93E57B95042}">
      <dgm:prSet custT="1"/>
      <dgm:spPr/>
      <dgm:t>
        <a:bodyPr/>
        <a:lstStyle/>
        <a:p>
          <a:r>
            <a:rPr lang="en-US" sz="2000" dirty="0"/>
            <a:t>Warnings</a:t>
          </a:r>
        </a:p>
      </dgm:t>
    </dgm:pt>
    <dgm:pt modelId="{C691DE79-A1FF-44B4-B765-79B7D7FDB5BF}" type="parTrans" cxnId="{716D2F7F-DCBE-454A-8233-4A0020D539FB}">
      <dgm:prSet/>
      <dgm:spPr/>
      <dgm:t>
        <a:bodyPr/>
        <a:lstStyle/>
        <a:p>
          <a:endParaRPr lang="en-US"/>
        </a:p>
      </dgm:t>
    </dgm:pt>
    <dgm:pt modelId="{E48834FC-9657-441C-82C7-9834A90B2D9A}" type="sibTrans" cxnId="{716D2F7F-DCBE-454A-8233-4A0020D539FB}">
      <dgm:prSet/>
      <dgm:spPr/>
      <dgm:t>
        <a:bodyPr/>
        <a:lstStyle/>
        <a:p>
          <a:endParaRPr lang="en-US"/>
        </a:p>
      </dgm:t>
    </dgm:pt>
    <dgm:pt modelId="{7C195A31-489F-4D5C-BE3C-D0E7A62A597C}">
      <dgm:prSet custT="1"/>
      <dgm:spPr/>
      <dgm:t>
        <a:bodyPr/>
        <a:lstStyle/>
        <a:p>
          <a:r>
            <a:rPr lang="en-US" sz="2000" dirty="0"/>
            <a:t>Data Flow Statistics</a:t>
          </a:r>
        </a:p>
      </dgm:t>
    </dgm:pt>
    <dgm:pt modelId="{385321FE-0233-44D7-BBBA-0221C41A2D8B}" type="parTrans" cxnId="{5ED86815-5F8D-4FD0-A3B8-1F3457B95B1B}">
      <dgm:prSet/>
      <dgm:spPr/>
      <dgm:t>
        <a:bodyPr/>
        <a:lstStyle/>
        <a:p>
          <a:endParaRPr lang="en-US"/>
        </a:p>
      </dgm:t>
    </dgm:pt>
    <dgm:pt modelId="{23578841-9AFC-435F-9F18-13EE33A24908}" type="sibTrans" cxnId="{5ED86815-5F8D-4FD0-A3B8-1F3457B95B1B}">
      <dgm:prSet/>
      <dgm:spPr/>
      <dgm:t>
        <a:bodyPr/>
        <a:lstStyle/>
        <a:p>
          <a:endParaRPr lang="en-US"/>
        </a:p>
      </dgm:t>
    </dgm:pt>
    <dgm:pt modelId="{2B04B0B2-7B0E-418B-B8D6-26C2F3D294B7}">
      <dgm:prSet custT="1"/>
      <dgm:spPr/>
      <dgm:t>
        <a:bodyPr/>
        <a:lstStyle/>
        <a:p>
          <a:r>
            <a:rPr lang="en-US" sz="2000" dirty="0"/>
            <a:t>Information about possible issues with the plan</a:t>
          </a:r>
        </a:p>
      </dgm:t>
    </dgm:pt>
    <dgm:pt modelId="{F0E57675-A5CE-40F2-ACAD-1257719BF76D}" type="parTrans" cxnId="{309A44BB-281C-48E2-8F3A-0A6BFD53FCFB}">
      <dgm:prSet/>
      <dgm:spPr/>
      <dgm:t>
        <a:bodyPr/>
        <a:lstStyle/>
        <a:p>
          <a:endParaRPr lang="en-US"/>
        </a:p>
      </dgm:t>
    </dgm:pt>
    <dgm:pt modelId="{E8377992-9138-4A0E-A649-5DBCBC645719}" type="sibTrans" cxnId="{309A44BB-281C-48E2-8F3A-0A6BFD53FCFB}">
      <dgm:prSet/>
      <dgm:spPr/>
      <dgm:t>
        <a:bodyPr/>
        <a:lstStyle/>
        <a:p>
          <a:endParaRPr lang="en-US"/>
        </a:p>
      </dgm:t>
    </dgm:pt>
    <dgm:pt modelId="{179BD4D4-E27A-459B-83FA-AC58F87941A1}">
      <dgm:prSet custT="1"/>
      <dgm:spPr/>
      <dgm:t>
        <a:bodyPr/>
        <a:lstStyle/>
        <a:p>
          <a:r>
            <a:rPr lang="en-US" sz="2000"/>
            <a:t>Overall </a:t>
          </a:r>
          <a:r>
            <a:rPr lang="en-US" sz="2000" dirty="0"/>
            <a:t>properties of the plan</a:t>
          </a:r>
        </a:p>
      </dgm:t>
    </dgm:pt>
    <dgm:pt modelId="{57A508A1-7A23-4360-A561-5C902FE04B8A}" type="parTrans" cxnId="{0AEA9FCF-07D8-47A8-8054-89CD47630863}">
      <dgm:prSet/>
      <dgm:spPr/>
      <dgm:t>
        <a:bodyPr/>
        <a:lstStyle/>
        <a:p>
          <a:endParaRPr lang="en-US"/>
        </a:p>
      </dgm:t>
    </dgm:pt>
    <dgm:pt modelId="{058C41AA-748F-4053-A68E-7BB482D701E4}" type="sibTrans" cxnId="{0AEA9FCF-07D8-47A8-8054-89CD47630863}">
      <dgm:prSet/>
      <dgm:spPr/>
      <dgm:t>
        <a:bodyPr/>
        <a:lstStyle/>
        <a:p>
          <a:endParaRPr lang="en-US"/>
        </a:p>
      </dgm:t>
    </dgm:pt>
    <dgm:pt modelId="{3F713F67-745C-4F43-A19C-549181124E89}">
      <dgm:prSet custT="1"/>
      <dgm:spPr/>
      <dgm:t>
        <a:bodyPr/>
        <a:lstStyle/>
        <a:p>
          <a:r>
            <a:rPr lang="en-US" sz="2000" dirty="0"/>
            <a:t>Look from most expensive to least expensive </a:t>
          </a:r>
        </a:p>
      </dgm:t>
    </dgm:pt>
    <dgm:pt modelId="{C98082EF-0F9E-4863-A568-B6C29D9F98CE}" type="parTrans" cxnId="{E52F09E2-A078-419D-B472-2584DC970363}">
      <dgm:prSet/>
      <dgm:spPr/>
      <dgm:t>
        <a:bodyPr/>
        <a:lstStyle/>
        <a:p>
          <a:endParaRPr lang="en-US"/>
        </a:p>
      </dgm:t>
    </dgm:pt>
    <dgm:pt modelId="{45D835DC-ED6A-4488-98C1-389C97ACCA66}" type="sibTrans" cxnId="{E52F09E2-A078-419D-B472-2584DC970363}">
      <dgm:prSet/>
      <dgm:spPr/>
      <dgm:t>
        <a:bodyPr/>
        <a:lstStyle/>
        <a:p>
          <a:endParaRPr lang="en-US"/>
        </a:p>
      </dgm:t>
    </dgm:pt>
    <dgm:pt modelId="{6C12DF66-1858-45C2-873D-007EF6C4FEEF}">
      <dgm:prSet custT="1"/>
      <dgm:spPr/>
      <dgm:t>
        <a:bodyPr/>
        <a:lstStyle/>
        <a:p>
          <a:r>
            <a:rPr lang="en-US" sz="2000" dirty="0"/>
            <a:t>Thicker arrows mean more data is being passed</a:t>
          </a:r>
        </a:p>
      </dgm:t>
    </dgm:pt>
    <dgm:pt modelId="{54C1E07F-6D7B-4803-9EEC-16FBD9FF8E74}" type="parTrans" cxnId="{9CFECBE4-7112-4F70-B162-AD03E0B67280}">
      <dgm:prSet/>
      <dgm:spPr/>
      <dgm:t>
        <a:bodyPr/>
        <a:lstStyle/>
        <a:p>
          <a:endParaRPr lang="en-US"/>
        </a:p>
      </dgm:t>
    </dgm:pt>
    <dgm:pt modelId="{58770011-B48D-439C-A72F-2E474B879375}" type="sibTrans" cxnId="{9CFECBE4-7112-4F70-B162-AD03E0B67280}">
      <dgm:prSet/>
      <dgm:spPr/>
      <dgm:t>
        <a:bodyPr/>
        <a:lstStyle/>
        <a:p>
          <a:endParaRPr lang="en-US"/>
        </a:p>
      </dgm:t>
    </dgm:pt>
    <dgm:pt modelId="{ECBF1858-5720-4B69-9B91-4B11BCB827E5}">
      <dgm:prSet custT="1"/>
      <dgm:spPr/>
      <dgm:t>
        <a:bodyPr/>
        <a:lstStyle/>
        <a:p>
          <a:r>
            <a:rPr lang="en-US" sz="2000"/>
            <a:t>Possible </a:t>
          </a:r>
          <a:r>
            <a:rPr lang="en-US" sz="2000" dirty="0"/>
            <a:t>to create index that covers query</a:t>
          </a:r>
        </a:p>
      </dgm:t>
    </dgm:pt>
    <dgm:pt modelId="{B64210F1-A925-467D-833D-9F370ACFA529}" type="parTrans" cxnId="{3687D1B1-4E49-4106-99BD-1B3AAD66D12F}">
      <dgm:prSet/>
      <dgm:spPr/>
      <dgm:t>
        <a:bodyPr/>
        <a:lstStyle/>
        <a:p>
          <a:endParaRPr lang="en-US"/>
        </a:p>
      </dgm:t>
    </dgm:pt>
    <dgm:pt modelId="{E4103689-9765-4311-89C8-0C5E264C937B}" type="sibTrans" cxnId="{3687D1B1-4E49-4106-99BD-1B3AAD66D12F}">
      <dgm:prSet/>
      <dgm:spPr/>
      <dgm:t>
        <a:bodyPr/>
        <a:lstStyle/>
        <a:p>
          <a:endParaRPr lang="en-US"/>
        </a:p>
      </dgm:t>
    </dgm:pt>
    <dgm:pt modelId="{6A4540C6-75D5-42A5-9EAE-54E08696DF42}">
      <dgm:prSet custT="1"/>
      <dgm:spPr/>
      <dgm:t>
        <a:bodyPr/>
        <a:lstStyle/>
        <a:p>
          <a:r>
            <a:rPr lang="en-US" sz="2000" dirty="0"/>
            <a:t>Not necessarily bad, but could indicate I/O issues</a:t>
          </a:r>
        </a:p>
      </dgm:t>
    </dgm:pt>
    <dgm:pt modelId="{FB8B8CC1-AC89-463C-81E7-B24EA47786BA}" type="parTrans" cxnId="{0C2B7136-B1EA-477C-8176-852716D1A981}">
      <dgm:prSet/>
      <dgm:spPr/>
      <dgm:t>
        <a:bodyPr/>
        <a:lstStyle/>
        <a:p>
          <a:endParaRPr lang="en-US"/>
        </a:p>
      </dgm:t>
    </dgm:pt>
    <dgm:pt modelId="{86710611-5591-483C-A291-55F3CC1DACC7}" type="sibTrans" cxnId="{0C2B7136-B1EA-477C-8176-852716D1A981}">
      <dgm:prSet/>
      <dgm:spPr/>
      <dgm:t>
        <a:bodyPr/>
        <a:lstStyle/>
        <a:p>
          <a:endParaRPr lang="en-US"/>
        </a:p>
      </dgm:t>
    </dgm:pt>
    <dgm:pt modelId="{0A8EAD2D-7291-4A68-A17A-E417371904C0}">
      <dgm:prSet custT="1"/>
      <dgm:spPr/>
      <dgm:t>
        <a:bodyPr/>
        <a:lstStyle/>
        <a:p>
          <a:r>
            <a:rPr lang="en-US" sz="2000" dirty="0"/>
            <a:t>Statistics could be stale or invalid</a:t>
          </a:r>
        </a:p>
      </dgm:t>
    </dgm:pt>
    <dgm:pt modelId="{AAB8DB95-5E17-4C64-9502-74112CE3F258}" type="parTrans" cxnId="{BA54C453-25A6-4285-9749-DAB96323A940}">
      <dgm:prSet/>
      <dgm:spPr/>
      <dgm:t>
        <a:bodyPr/>
        <a:lstStyle/>
        <a:p>
          <a:endParaRPr lang="en-US"/>
        </a:p>
      </dgm:t>
    </dgm:pt>
    <dgm:pt modelId="{869EE2B5-1330-455B-BCAA-956C9232DC65}" type="sibTrans" cxnId="{BA54C453-25A6-4285-9749-DAB96323A940}">
      <dgm:prSet/>
      <dgm:spPr/>
      <dgm:t>
        <a:bodyPr/>
        <a:lstStyle/>
        <a:p>
          <a:endParaRPr lang="en-US"/>
        </a:p>
      </dgm:t>
    </dgm:pt>
    <dgm:pt modelId="{359AD54D-2E91-4FAD-B781-C27B19FA94A1}">
      <dgm:prSet custT="1"/>
      <dgm:spPr/>
      <dgm:t>
        <a:bodyPr/>
        <a:lstStyle/>
        <a:p>
          <a:r>
            <a:rPr lang="en-US" sz="2000" dirty="0"/>
            <a:t>Sort Operators</a:t>
          </a:r>
        </a:p>
      </dgm:t>
    </dgm:pt>
    <dgm:pt modelId="{30DADE74-2EFC-4293-A0F2-471E4ED40D4A}" type="parTrans" cxnId="{2993C9F5-AA5B-459E-90C1-D98BECF4EFC0}">
      <dgm:prSet/>
      <dgm:spPr/>
      <dgm:t>
        <a:bodyPr/>
        <a:lstStyle/>
        <a:p>
          <a:endParaRPr lang="en-US"/>
        </a:p>
      </dgm:t>
    </dgm:pt>
    <dgm:pt modelId="{4269A91B-2922-4A00-8F3D-BAE49F962949}" type="sibTrans" cxnId="{2993C9F5-AA5B-459E-90C1-D98BECF4EFC0}">
      <dgm:prSet/>
      <dgm:spPr/>
      <dgm:t>
        <a:bodyPr/>
        <a:lstStyle/>
        <a:p>
          <a:endParaRPr lang="en-US"/>
        </a:p>
      </dgm:t>
    </dgm:pt>
    <dgm:pt modelId="{8B39FBC3-2504-4490-8985-5278F8D75061}">
      <dgm:prSet custT="1"/>
      <dgm:spPr/>
      <dgm:t>
        <a:bodyPr/>
        <a:lstStyle/>
        <a:p>
          <a:r>
            <a:rPr lang="en-US" sz="2000" dirty="0"/>
            <a:t>Locate why there is a sort operation and is it needed</a:t>
          </a:r>
        </a:p>
      </dgm:t>
    </dgm:pt>
    <dgm:pt modelId="{E89BE98F-6389-4601-832F-344904337F44}" type="parTrans" cxnId="{C6C9C21B-DF42-43ED-9F3F-BB70D08D2942}">
      <dgm:prSet/>
      <dgm:spPr/>
      <dgm:t>
        <a:bodyPr/>
        <a:lstStyle/>
        <a:p>
          <a:endParaRPr lang="en-US"/>
        </a:p>
      </dgm:t>
    </dgm:pt>
    <dgm:pt modelId="{492D913A-D2CB-4836-8C21-BBEF146282D1}" type="sibTrans" cxnId="{C6C9C21B-DF42-43ED-9F3F-BB70D08D2942}">
      <dgm:prSet/>
      <dgm:spPr/>
      <dgm:t>
        <a:bodyPr/>
        <a:lstStyle/>
        <a:p>
          <a:endParaRPr lang="en-US"/>
        </a:p>
      </dgm:t>
    </dgm:pt>
    <dgm:pt modelId="{7AB79E29-99D0-48EE-BFB3-0C7371823820}" type="pres">
      <dgm:prSet presAssocID="{DBBBB98E-C148-4A73-BA40-825C1DE7565E}" presName="Name0" presStyleCnt="0">
        <dgm:presLayoutVars>
          <dgm:dir/>
          <dgm:animLvl val="lvl"/>
          <dgm:resizeHandles val="exact"/>
        </dgm:presLayoutVars>
      </dgm:prSet>
      <dgm:spPr/>
    </dgm:pt>
    <dgm:pt modelId="{FF1A8BF3-E361-4589-8F57-4D39529EB37D}" type="pres">
      <dgm:prSet presAssocID="{92FC081A-F06D-47C6-A27F-B93E57B95042}" presName="linNode" presStyleCnt="0"/>
      <dgm:spPr/>
    </dgm:pt>
    <dgm:pt modelId="{84B7B9B8-CF17-4C9F-8E5B-C19D02201E58}" type="pres">
      <dgm:prSet presAssocID="{92FC081A-F06D-47C6-A27F-B93E57B95042}" presName="parentText" presStyleLbl="node1" presStyleIdx="0" presStyleCnt="8">
        <dgm:presLayoutVars>
          <dgm:chMax val="1"/>
          <dgm:bulletEnabled val="1"/>
        </dgm:presLayoutVars>
      </dgm:prSet>
      <dgm:spPr/>
    </dgm:pt>
    <dgm:pt modelId="{E0578F1C-23D9-4408-8BAF-D0814A8EA46B}" type="pres">
      <dgm:prSet presAssocID="{92FC081A-F06D-47C6-A27F-B93E57B95042}" presName="descendantText" presStyleLbl="alignAccFollowNode1" presStyleIdx="0" presStyleCnt="8">
        <dgm:presLayoutVars>
          <dgm:bulletEnabled val="1"/>
        </dgm:presLayoutVars>
      </dgm:prSet>
      <dgm:spPr/>
    </dgm:pt>
    <dgm:pt modelId="{F7E48901-616A-49A2-A1EE-73A5B8F896C0}" type="pres">
      <dgm:prSet presAssocID="{E48834FC-9657-441C-82C7-9834A90B2D9A}" presName="sp" presStyleCnt="0"/>
      <dgm:spPr/>
    </dgm:pt>
    <dgm:pt modelId="{934CFE06-7B30-44E2-B3EC-CA1826AF6D6A}" type="pres">
      <dgm:prSet presAssocID="{45AC514D-456D-4A80-8060-97C929D5456E}" presName="linNode" presStyleCnt="0"/>
      <dgm:spPr/>
    </dgm:pt>
    <dgm:pt modelId="{77D63B06-77E8-4D76-B956-6AA6BECB473F}" type="pres">
      <dgm:prSet presAssocID="{45AC514D-456D-4A80-8060-97C929D5456E}" presName="parentText" presStyleLbl="node1" presStyleIdx="1" presStyleCnt="8">
        <dgm:presLayoutVars>
          <dgm:chMax val="1"/>
          <dgm:bulletEnabled val="1"/>
        </dgm:presLayoutVars>
      </dgm:prSet>
      <dgm:spPr/>
    </dgm:pt>
    <dgm:pt modelId="{E1672FE1-D6F3-40C1-B1BB-A94F5F67BC23}" type="pres">
      <dgm:prSet presAssocID="{45AC514D-456D-4A80-8060-97C929D5456E}" presName="descendantText" presStyleLbl="alignAccFollowNode1" presStyleIdx="1" presStyleCnt="8">
        <dgm:presLayoutVars>
          <dgm:bulletEnabled val="1"/>
        </dgm:presLayoutVars>
      </dgm:prSet>
      <dgm:spPr/>
    </dgm:pt>
    <dgm:pt modelId="{C8696C85-1991-495D-96A7-120C5937ED0F}" type="pres">
      <dgm:prSet presAssocID="{A5FEC858-2B6C-4D12-8F66-722F208EFC90}" presName="sp" presStyleCnt="0"/>
      <dgm:spPr/>
    </dgm:pt>
    <dgm:pt modelId="{765189E4-CD06-49AF-A5C7-DF6CAC18F07F}" type="pres">
      <dgm:prSet presAssocID="{CDFE379C-4C17-4418-97A8-986BA6102648}" presName="linNode" presStyleCnt="0"/>
      <dgm:spPr/>
    </dgm:pt>
    <dgm:pt modelId="{E44F4864-B4DA-478C-99B9-E2FC412EDD26}" type="pres">
      <dgm:prSet presAssocID="{CDFE379C-4C17-4418-97A8-986BA6102648}" presName="parentText" presStyleLbl="node1" presStyleIdx="2" presStyleCnt="8">
        <dgm:presLayoutVars>
          <dgm:chMax val="1"/>
          <dgm:bulletEnabled val="1"/>
        </dgm:presLayoutVars>
      </dgm:prSet>
      <dgm:spPr/>
    </dgm:pt>
    <dgm:pt modelId="{A6BB1FD6-985A-4294-B984-8BBE267C556F}" type="pres">
      <dgm:prSet presAssocID="{CDFE379C-4C17-4418-97A8-986BA6102648}" presName="descendantText" presStyleLbl="alignAccFollowNode1" presStyleIdx="2" presStyleCnt="8">
        <dgm:presLayoutVars>
          <dgm:bulletEnabled val="1"/>
        </dgm:presLayoutVars>
      </dgm:prSet>
      <dgm:spPr/>
    </dgm:pt>
    <dgm:pt modelId="{6DD88D4E-D9C0-4AE8-A20E-A1D9058227CA}" type="pres">
      <dgm:prSet presAssocID="{7BBC5D6A-3C2C-4D72-8165-791F43F7AD1A}" presName="sp" presStyleCnt="0"/>
      <dgm:spPr/>
    </dgm:pt>
    <dgm:pt modelId="{8A899028-1A24-4BF3-B5AD-071AB500675B}" type="pres">
      <dgm:prSet presAssocID="{359AD54D-2E91-4FAD-B781-C27B19FA94A1}" presName="linNode" presStyleCnt="0"/>
      <dgm:spPr/>
    </dgm:pt>
    <dgm:pt modelId="{E06A0108-EFF1-423D-A354-9E7E280B3250}" type="pres">
      <dgm:prSet presAssocID="{359AD54D-2E91-4FAD-B781-C27B19FA94A1}" presName="parentText" presStyleLbl="node1" presStyleIdx="3" presStyleCnt="8">
        <dgm:presLayoutVars>
          <dgm:chMax val="1"/>
          <dgm:bulletEnabled val="1"/>
        </dgm:presLayoutVars>
      </dgm:prSet>
      <dgm:spPr/>
    </dgm:pt>
    <dgm:pt modelId="{4E44DBA6-16C3-436E-BAAF-AC843AC2C864}" type="pres">
      <dgm:prSet presAssocID="{359AD54D-2E91-4FAD-B781-C27B19FA94A1}" presName="descendantText" presStyleLbl="alignAccFollowNode1" presStyleIdx="3" presStyleCnt="8">
        <dgm:presLayoutVars>
          <dgm:bulletEnabled val="1"/>
        </dgm:presLayoutVars>
      </dgm:prSet>
      <dgm:spPr/>
    </dgm:pt>
    <dgm:pt modelId="{BDC77999-7BB6-4570-AD07-628BFE6EC1B7}" type="pres">
      <dgm:prSet presAssocID="{4269A91B-2922-4A00-8F3D-BAE49F962949}" presName="sp" presStyleCnt="0"/>
      <dgm:spPr/>
    </dgm:pt>
    <dgm:pt modelId="{066C67FE-8913-43A4-8AB4-3092CAF406BD}" type="pres">
      <dgm:prSet presAssocID="{7C195A31-489F-4D5C-BE3C-D0E7A62A597C}" presName="linNode" presStyleCnt="0"/>
      <dgm:spPr/>
    </dgm:pt>
    <dgm:pt modelId="{BC4526AF-2EAB-4E8A-A353-77D12FAC2F15}" type="pres">
      <dgm:prSet presAssocID="{7C195A31-489F-4D5C-BE3C-D0E7A62A597C}" presName="parentText" presStyleLbl="node1" presStyleIdx="4" presStyleCnt="8">
        <dgm:presLayoutVars>
          <dgm:chMax val="1"/>
          <dgm:bulletEnabled val="1"/>
        </dgm:presLayoutVars>
      </dgm:prSet>
      <dgm:spPr/>
    </dgm:pt>
    <dgm:pt modelId="{CE407802-79FE-4B31-9D8F-DA1959A708C8}" type="pres">
      <dgm:prSet presAssocID="{7C195A31-489F-4D5C-BE3C-D0E7A62A597C}" presName="descendantText" presStyleLbl="alignAccFollowNode1" presStyleIdx="4" presStyleCnt="8">
        <dgm:presLayoutVars>
          <dgm:bulletEnabled val="1"/>
        </dgm:presLayoutVars>
      </dgm:prSet>
      <dgm:spPr/>
    </dgm:pt>
    <dgm:pt modelId="{4FB4FD20-B5AA-4F21-9293-2BCEF4F9DC14}" type="pres">
      <dgm:prSet presAssocID="{23578841-9AFC-435F-9F18-13EE33A24908}" presName="sp" presStyleCnt="0"/>
      <dgm:spPr/>
    </dgm:pt>
    <dgm:pt modelId="{854A0047-D822-4CBF-8F84-21E896EFF934}" type="pres">
      <dgm:prSet presAssocID="{C9A9EAA2-5D61-42FF-97CD-08B72DE6DEE1}" presName="linNode" presStyleCnt="0"/>
      <dgm:spPr/>
    </dgm:pt>
    <dgm:pt modelId="{63A621D9-7E51-488D-A87F-C91AEC1D1623}" type="pres">
      <dgm:prSet presAssocID="{C9A9EAA2-5D61-42FF-97CD-08B72DE6DEE1}" presName="parentText" presStyleLbl="node1" presStyleIdx="5" presStyleCnt="8">
        <dgm:presLayoutVars>
          <dgm:chMax val="1"/>
          <dgm:bulletEnabled val="1"/>
        </dgm:presLayoutVars>
      </dgm:prSet>
      <dgm:spPr/>
    </dgm:pt>
    <dgm:pt modelId="{49483BC9-7EBB-4B07-84C4-29A8C81CE3A2}" type="pres">
      <dgm:prSet presAssocID="{C9A9EAA2-5D61-42FF-97CD-08B72DE6DEE1}" presName="descendantText" presStyleLbl="alignAccFollowNode1" presStyleIdx="5" presStyleCnt="8">
        <dgm:presLayoutVars>
          <dgm:bulletEnabled val="1"/>
        </dgm:presLayoutVars>
      </dgm:prSet>
      <dgm:spPr/>
    </dgm:pt>
    <dgm:pt modelId="{8AB37C23-DFAD-4A20-BB34-ABCB28C7DCA7}" type="pres">
      <dgm:prSet presAssocID="{22BB8E13-2911-43B2-88B3-CFBC4009A10E}" presName="sp" presStyleCnt="0"/>
      <dgm:spPr/>
    </dgm:pt>
    <dgm:pt modelId="{B52BFBB0-CC4D-46D4-A0C7-202CE2A69109}" type="pres">
      <dgm:prSet presAssocID="{2230DC4C-F013-4335-9EBE-B24703AAAB5D}" presName="linNode" presStyleCnt="0"/>
      <dgm:spPr/>
    </dgm:pt>
    <dgm:pt modelId="{A4268063-F919-45C8-96D6-E0469ED8C6E7}" type="pres">
      <dgm:prSet presAssocID="{2230DC4C-F013-4335-9EBE-B24703AAAB5D}" presName="parentText" presStyleLbl="node1" presStyleIdx="6" presStyleCnt="8">
        <dgm:presLayoutVars>
          <dgm:chMax val="1"/>
          <dgm:bulletEnabled val="1"/>
        </dgm:presLayoutVars>
      </dgm:prSet>
      <dgm:spPr/>
    </dgm:pt>
    <dgm:pt modelId="{A63DC958-F01E-461D-9803-CE9D682108D1}" type="pres">
      <dgm:prSet presAssocID="{2230DC4C-F013-4335-9EBE-B24703AAAB5D}" presName="descendantText" presStyleLbl="alignAccFollowNode1" presStyleIdx="6" presStyleCnt="8">
        <dgm:presLayoutVars>
          <dgm:bulletEnabled val="1"/>
        </dgm:presLayoutVars>
      </dgm:prSet>
      <dgm:spPr/>
    </dgm:pt>
    <dgm:pt modelId="{A08D5657-7254-46A5-9749-172A44D998F5}" type="pres">
      <dgm:prSet presAssocID="{677AAFD1-4A00-4358-8D10-5C2CB55122F3}" presName="sp" presStyleCnt="0"/>
      <dgm:spPr/>
    </dgm:pt>
    <dgm:pt modelId="{74B280C3-7D04-4EA2-A037-CE2701F56A93}" type="pres">
      <dgm:prSet presAssocID="{F7C2BA91-D799-493F-B68A-87797357D65B}" presName="linNode" presStyleCnt="0"/>
      <dgm:spPr/>
    </dgm:pt>
    <dgm:pt modelId="{4C024234-C58C-41AF-8E8E-9314898FF03F}" type="pres">
      <dgm:prSet presAssocID="{F7C2BA91-D799-493F-B68A-87797357D65B}" presName="parentText" presStyleLbl="node1" presStyleIdx="7" presStyleCnt="8">
        <dgm:presLayoutVars>
          <dgm:chMax val="1"/>
          <dgm:bulletEnabled val="1"/>
        </dgm:presLayoutVars>
      </dgm:prSet>
      <dgm:spPr/>
    </dgm:pt>
    <dgm:pt modelId="{C44360D4-090F-4F2C-9A70-603F26F29860}" type="pres">
      <dgm:prSet presAssocID="{F7C2BA91-D799-493F-B68A-87797357D65B}" presName="descendantText" presStyleLbl="alignAccFollowNode1" presStyleIdx="7" presStyleCnt="8">
        <dgm:presLayoutVars>
          <dgm:bulletEnabled val="1"/>
        </dgm:presLayoutVars>
      </dgm:prSet>
      <dgm:spPr/>
    </dgm:pt>
  </dgm:ptLst>
  <dgm:cxnLst>
    <dgm:cxn modelId="{B7B0B60E-0DF1-4150-8D73-2DC1513D5EE2}" type="presOf" srcId="{8B39FBC3-2504-4490-8985-5278F8D75061}" destId="{4E44DBA6-16C3-436E-BAAF-AC843AC2C864}" srcOrd="0" destOrd="0" presId="urn:microsoft.com/office/officeart/2005/8/layout/vList5"/>
    <dgm:cxn modelId="{965C420F-2416-42EE-98C8-A87772F7155E}" type="presOf" srcId="{2230DC4C-F013-4335-9EBE-B24703AAAB5D}" destId="{A4268063-F919-45C8-96D6-E0469ED8C6E7}" srcOrd="0" destOrd="0" presId="urn:microsoft.com/office/officeart/2005/8/layout/vList5"/>
    <dgm:cxn modelId="{5ED86815-5F8D-4FD0-A3B8-1F3457B95B1B}" srcId="{DBBBB98E-C148-4A73-BA40-825C1DE7565E}" destId="{7C195A31-489F-4D5C-BE3C-D0E7A62A597C}" srcOrd="4" destOrd="0" parTransId="{385321FE-0233-44D7-BBBA-0221C41A2D8B}" sibTransId="{23578841-9AFC-435F-9F18-13EE33A24908}"/>
    <dgm:cxn modelId="{C6C9C21B-DF42-43ED-9F3F-BB70D08D2942}" srcId="{359AD54D-2E91-4FAD-B781-C27B19FA94A1}" destId="{8B39FBC3-2504-4490-8985-5278F8D75061}" srcOrd="0" destOrd="0" parTransId="{E89BE98F-6389-4601-832F-344904337F44}" sibTransId="{492D913A-D2CB-4836-8C21-BBEF146282D1}"/>
    <dgm:cxn modelId="{17569728-056E-4195-90DF-D9704BEAB6A1}" type="presOf" srcId="{7C195A31-489F-4D5C-BE3C-D0E7A62A597C}" destId="{BC4526AF-2EAB-4E8A-A353-77D12FAC2F15}" srcOrd="0" destOrd="0" presId="urn:microsoft.com/office/officeart/2005/8/layout/vList5"/>
    <dgm:cxn modelId="{BCDB1329-520D-4B3A-8C7B-ECB11D061D9F}" type="presOf" srcId="{CDFE379C-4C17-4418-97A8-986BA6102648}" destId="{E44F4864-B4DA-478C-99B9-E2FC412EDD26}" srcOrd="0" destOrd="0" presId="urn:microsoft.com/office/officeart/2005/8/layout/vList5"/>
    <dgm:cxn modelId="{F51E1C2B-D8F0-4BCB-A308-38D462E6683C}" type="presOf" srcId="{6A4540C6-75D5-42A5-9EAE-54E08696DF42}" destId="{A63DC958-F01E-461D-9803-CE9D682108D1}" srcOrd="0" destOrd="0" presId="urn:microsoft.com/office/officeart/2005/8/layout/vList5"/>
    <dgm:cxn modelId="{0C2B7136-B1EA-477C-8176-852716D1A981}" srcId="{2230DC4C-F013-4335-9EBE-B24703AAAB5D}" destId="{6A4540C6-75D5-42A5-9EAE-54E08696DF42}" srcOrd="0" destOrd="0" parTransId="{FB8B8CC1-AC89-463C-81E7-B24EA47786BA}" sibTransId="{86710611-5591-483C-A291-55F3CC1DACC7}"/>
    <dgm:cxn modelId="{24953F39-74E3-435C-BACB-AAFB896B8711}" type="presOf" srcId="{0A8EAD2D-7291-4A68-A17A-E417371904C0}" destId="{C44360D4-090F-4F2C-9A70-603F26F29860}" srcOrd="0" destOrd="0" presId="urn:microsoft.com/office/officeart/2005/8/layout/vList5"/>
    <dgm:cxn modelId="{49D18340-0CB6-47D7-80E8-442236968955}" srcId="{DBBBB98E-C148-4A73-BA40-825C1DE7565E}" destId="{2230DC4C-F013-4335-9EBE-B24703AAAB5D}" srcOrd="6" destOrd="0" parTransId="{422B594C-C40B-4200-A2E1-314BDF756B7F}" sibTransId="{677AAFD1-4A00-4358-8D10-5C2CB55122F3}"/>
    <dgm:cxn modelId="{2B6F084C-7A4F-4471-A68E-8A99B41617AC}" type="presOf" srcId="{2B04B0B2-7B0E-418B-B8D6-26C2F3D294B7}" destId="{E0578F1C-23D9-4408-8BAF-D0814A8EA46B}" srcOrd="0" destOrd="0" presId="urn:microsoft.com/office/officeart/2005/8/layout/vList5"/>
    <dgm:cxn modelId="{BA54C453-25A6-4285-9749-DAB96323A940}" srcId="{F7C2BA91-D799-493F-B68A-87797357D65B}" destId="{0A8EAD2D-7291-4A68-A17A-E417371904C0}" srcOrd="0" destOrd="0" parTransId="{AAB8DB95-5E17-4C64-9502-74112CE3F258}" sibTransId="{869EE2B5-1330-455B-BCAA-956C9232DC65}"/>
    <dgm:cxn modelId="{59FD9556-C921-4C41-BF19-6EDA9DB50129}" type="presOf" srcId="{ECBF1858-5720-4B69-9B91-4B11BCB827E5}" destId="{49483BC9-7EBB-4B07-84C4-29A8C81CE3A2}" srcOrd="0" destOrd="0" presId="urn:microsoft.com/office/officeart/2005/8/layout/vList5"/>
    <dgm:cxn modelId="{716D2F7F-DCBE-454A-8233-4A0020D539FB}" srcId="{DBBBB98E-C148-4A73-BA40-825C1DE7565E}" destId="{92FC081A-F06D-47C6-A27F-B93E57B95042}" srcOrd="0" destOrd="0" parTransId="{C691DE79-A1FF-44B4-B765-79B7D7FDB5BF}" sibTransId="{E48834FC-9657-441C-82C7-9834A90B2D9A}"/>
    <dgm:cxn modelId="{BE7ECF9B-5002-4579-9A9B-D754802C5A33}" type="presOf" srcId="{179BD4D4-E27A-459B-83FA-AC58F87941A1}" destId="{E1672FE1-D6F3-40C1-B1BB-A94F5F67BC23}" srcOrd="0" destOrd="0" presId="urn:microsoft.com/office/officeart/2005/8/layout/vList5"/>
    <dgm:cxn modelId="{2E570EA3-F550-430D-88FA-04D941A86A5D}" type="presOf" srcId="{F7C2BA91-D799-493F-B68A-87797357D65B}" destId="{4C024234-C58C-41AF-8E8E-9314898FF03F}" srcOrd="0" destOrd="0" presId="urn:microsoft.com/office/officeart/2005/8/layout/vList5"/>
    <dgm:cxn modelId="{E814A3A7-D44A-4CF7-BB88-4A2936DEEC5D}" srcId="{DBBBB98E-C148-4A73-BA40-825C1DE7565E}" destId="{CDFE379C-4C17-4418-97A8-986BA6102648}" srcOrd="2" destOrd="0" parTransId="{6190EAA5-0DF7-402E-BA73-162ADDD708C7}" sibTransId="{7BBC5D6A-3C2C-4D72-8165-791F43F7AD1A}"/>
    <dgm:cxn modelId="{A5F679A9-5918-4FE5-A9A8-A7713B42C598}" type="presOf" srcId="{3F713F67-745C-4F43-A19C-549181124E89}" destId="{A6BB1FD6-985A-4294-B984-8BBE267C556F}" srcOrd="0" destOrd="0" presId="urn:microsoft.com/office/officeart/2005/8/layout/vList5"/>
    <dgm:cxn modelId="{3687D1B1-4E49-4106-99BD-1B3AAD66D12F}" srcId="{C9A9EAA2-5D61-42FF-97CD-08B72DE6DEE1}" destId="{ECBF1858-5720-4B69-9B91-4B11BCB827E5}" srcOrd="0" destOrd="0" parTransId="{B64210F1-A925-467D-833D-9F370ACFA529}" sibTransId="{E4103689-9765-4311-89C8-0C5E264C937B}"/>
    <dgm:cxn modelId="{309A44BB-281C-48E2-8F3A-0A6BFD53FCFB}" srcId="{92FC081A-F06D-47C6-A27F-B93E57B95042}" destId="{2B04B0B2-7B0E-418B-B8D6-26C2F3D294B7}" srcOrd="0" destOrd="0" parTransId="{F0E57675-A5CE-40F2-ACAD-1257719BF76D}" sibTransId="{E8377992-9138-4A0E-A649-5DBCBC645719}"/>
    <dgm:cxn modelId="{DAC1EDC5-F8C7-4B63-B571-E79D226C01C4}" type="presOf" srcId="{359AD54D-2E91-4FAD-B781-C27B19FA94A1}" destId="{E06A0108-EFF1-423D-A354-9E7E280B3250}" srcOrd="0" destOrd="0" presId="urn:microsoft.com/office/officeart/2005/8/layout/vList5"/>
    <dgm:cxn modelId="{C81356CE-E846-4B95-9885-509F493768BD}" srcId="{DBBBB98E-C148-4A73-BA40-825C1DE7565E}" destId="{C9A9EAA2-5D61-42FF-97CD-08B72DE6DEE1}" srcOrd="5" destOrd="0" parTransId="{3BD33D60-B273-4A52-BAE8-3523F606746A}" sibTransId="{22BB8E13-2911-43B2-88B3-CFBC4009A10E}"/>
    <dgm:cxn modelId="{0AEA9FCF-07D8-47A8-8054-89CD47630863}" srcId="{45AC514D-456D-4A80-8060-97C929D5456E}" destId="{179BD4D4-E27A-459B-83FA-AC58F87941A1}" srcOrd="0" destOrd="0" parTransId="{57A508A1-7A23-4360-A561-5C902FE04B8A}" sibTransId="{058C41AA-748F-4053-A68E-7BB482D701E4}"/>
    <dgm:cxn modelId="{7FC47CD5-FE5C-465F-88CF-17168E1B7EC5}" type="presOf" srcId="{45AC514D-456D-4A80-8060-97C929D5456E}" destId="{77D63B06-77E8-4D76-B956-6AA6BECB473F}" srcOrd="0" destOrd="0" presId="urn:microsoft.com/office/officeart/2005/8/layout/vList5"/>
    <dgm:cxn modelId="{B74A1ED7-0EAD-4F59-8E33-2DFB0A743E3C}" type="presOf" srcId="{92FC081A-F06D-47C6-A27F-B93E57B95042}" destId="{84B7B9B8-CF17-4C9F-8E5B-C19D02201E58}" srcOrd="0" destOrd="0" presId="urn:microsoft.com/office/officeart/2005/8/layout/vList5"/>
    <dgm:cxn modelId="{1A0ACAD7-7B8E-4498-881B-13426CBAA86B}" type="presOf" srcId="{DBBBB98E-C148-4A73-BA40-825C1DE7565E}" destId="{7AB79E29-99D0-48EE-BFB3-0C7371823820}" srcOrd="0" destOrd="0" presId="urn:microsoft.com/office/officeart/2005/8/layout/vList5"/>
    <dgm:cxn modelId="{8AD6EADA-5A1D-4DFD-88B6-8F07034D5F0B}" srcId="{DBBBB98E-C148-4A73-BA40-825C1DE7565E}" destId="{F7C2BA91-D799-493F-B68A-87797357D65B}" srcOrd="7" destOrd="0" parTransId="{B96E8DAB-9ACA-419A-BC9A-DF33FEFAFAF4}" sibTransId="{97D9ED13-153A-4099-9B1C-1A5EB78BD503}"/>
    <dgm:cxn modelId="{E52F09E2-A078-419D-B472-2584DC970363}" srcId="{CDFE379C-4C17-4418-97A8-986BA6102648}" destId="{3F713F67-745C-4F43-A19C-549181124E89}" srcOrd="0" destOrd="0" parTransId="{C98082EF-0F9E-4863-A568-B6C29D9F98CE}" sibTransId="{45D835DC-ED6A-4488-98C1-389C97ACCA66}"/>
    <dgm:cxn modelId="{9CFECBE4-7112-4F70-B162-AD03E0B67280}" srcId="{7C195A31-489F-4D5C-BE3C-D0E7A62A597C}" destId="{6C12DF66-1858-45C2-873D-007EF6C4FEEF}" srcOrd="0" destOrd="0" parTransId="{54C1E07F-6D7B-4803-9EEC-16FBD9FF8E74}" sibTransId="{58770011-B48D-439C-A72F-2E474B879375}"/>
    <dgm:cxn modelId="{AF905EEA-C5F4-4EAE-9933-DB5B326CBF88}" type="presOf" srcId="{6C12DF66-1858-45C2-873D-007EF6C4FEEF}" destId="{CE407802-79FE-4B31-9D8F-DA1959A708C8}" srcOrd="0" destOrd="0" presId="urn:microsoft.com/office/officeart/2005/8/layout/vList5"/>
    <dgm:cxn modelId="{58A3D8F2-266D-4EB3-BD2D-C30775A465A5}" srcId="{DBBBB98E-C148-4A73-BA40-825C1DE7565E}" destId="{45AC514D-456D-4A80-8060-97C929D5456E}" srcOrd="1" destOrd="0" parTransId="{AF546781-AD10-4611-A686-88259B1E24AF}" sibTransId="{A5FEC858-2B6C-4D12-8F66-722F208EFC90}"/>
    <dgm:cxn modelId="{2993C9F5-AA5B-459E-90C1-D98BECF4EFC0}" srcId="{DBBBB98E-C148-4A73-BA40-825C1DE7565E}" destId="{359AD54D-2E91-4FAD-B781-C27B19FA94A1}" srcOrd="3" destOrd="0" parTransId="{30DADE74-2EFC-4293-A0F2-471E4ED40D4A}" sibTransId="{4269A91B-2922-4A00-8F3D-BAE49F962949}"/>
    <dgm:cxn modelId="{0DD7BFFC-D78A-468C-AF6E-A89B393A7C6F}" type="presOf" srcId="{C9A9EAA2-5D61-42FF-97CD-08B72DE6DEE1}" destId="{63A621D9-7E51-488D-A87F-C91AEC1D1623}" srcOrd="0" destOrd="0" presId="urn:microsoft.com/office/officeart/2005/8/layout/vList5"/>
    <dgm:cxn modelId="{373A527F-7C1C-4B3F-8DC6-385DF7740362}" type="presParOf" srcId="{7AB79E29-99D0-48EE-BFB3-0C7371823820}" destId="{FF1A8BF3-E361-4589-8F57-4D39529EB37D}" srcOrd="0" destOrd="0" presId="urn:microsoft.com/office/officeart/2005/8/layout/vList5"/>
    <dgm:cxn modelId="{0A0F695F-D811-4186-9248-B353117A478F}" type="presParOf" srcId="{FF1A8BF3-E361-4589-8F57-4D39529EB37D}" destId="{84B7B9B8-CF17-4C9F-8E5B-C19D02201E58}" srcOrd="0" destOrd="0" presId="urn:microsoft.com/office/officeart/2005/8/layout/vList5"/>
    <dgm:cxn modelId="{09D1A7AE-E7DB-4AE7-9CE1-43C89AA23DDC}" type="presParOf" srcId="{FF1A8BF3-E361-4589-8F57-4D39529EB37D}" destId="{E0578F1C-23D9-4408-8BAF-D0814A8EA46B}" srcOrd="1" destOrd="0" presId="urn:microsoft.com/office/officeart/2005/8/layout/vList5"/>
    <dgm:cxn modelId="{181FB06C-054A-401B-AE6E-858C68B14AB7}" type="presParOf" srcId="{7AB79E29-99D0-48EE-BFB3-0C7371823820}" destId="{F7E48901-616A-49A2-A1EE-73A5B8F896C0}" srcOrd="1" destOrd="0" presId="urn:microsoft.com/office/officeart/2005/8/layout/vList5"/>
    <dgm:cxn modelId="{DD8AE140-D09E-44D4-BD41-BAFE13B2C21F}" type="presParOf" srcId="{7AB79E29-99D0-48EE-BFB3-0C7371823820}" destId="{934CFE06-7B30-44E2-B3EC-CA1826AF6D6A}" srcOrd="2" destOrd="0" presId="urn:microsoft.com/office/officeart/2005/8/layout/vList5"/>
    <dgm:cxn modelId="{0F8FEFD1-3AC1-4C60-95FB-D2BA0F98166A}" type="presParOf" srcId="{934CFE06-7B30-44E2-B3EC-CA1826AF6D6A}" destId="{77D63B06-77E8-4D76-B956-6AA6BECB473F}" srcOrd="0" destOrd="0" presId="urn:microsoft.com/office/officeart/2005/8/layout/vList5"/>
    <dgm:cxn modelId="{401D8B8D-51EE-4FC9-99C7-D7FF325D8FC9}" type="presParOf" srcId="{934CFE06-7B30-44E2-B3EC-CA1826AF6D6A}" destId="{E1672FE1-D6F3-40C1-B1BB-A94F5F67BC23}" srcOrd="1" destOrd="0" presId="urn:microsoft.com/office/officeart/2005/8/layout/vList5"/>
    <dgm:cxn modelId="{779D3F5F-9167-4260-8A1C-F8E939601ABA}" type="presParOf" srcId="{7AB79E29-99D0-48EE-BFB3-0C7371823820}" destId="{C8696C85-1991-495D-96A7-120C5937ED0F}" srcOrd="3" destOrd="0" presId="urn:microsoft.com/office/officeart/2005/8/layout/vList5"/>
    <dgm:cxn modelId="{0ECDD525-3EEC-427F-99B2-678B4C31DEB4}" type="presParOf" srcId="{7AB79E29-99D0-48EE-BFB3-0C7371823820}" destId="{765189E4-CD06-49AF-A5C7-DF6CAC18F07F}" srcOrd="4" destOrd="0" presId="urn:microsoft.com/office/officeart/2005/8/layout/vList5"/>
    <dgm:cxn modelId="{B50BAD75-AE0F-401C-9DB9-348FFFD5A1FA}" type="presParOf" srcId="{765189E4-CD06-49AF-A5C7-DF6CAC18F07F}" destId="{E44F4864-B4DA-478C-99B9-E2FC412EDD26}" srcOrd="0" destOrd="0" presId="urn:microsoft.com/office/officeart/2005/8/layout/vList5"/>
    <dgm:cxn modelId="{8BBDCCA9-E98F-4EC4-8A31-0616A077390E}" type="presParOf" srcId="{765189E4-CD06-49AF-A5C7-DF6CAC18F07F}" destId="{A6BB1FD6-985A-4294-B984-8BBE267C556F}" srcOrd="1" destOrd="0" presId="urn:microsoft.com/office/officeart/2005/8/layout/vList5"/>
    <dgm:cxn modelId="{5C329AAE-21B4-49D6-8BC5-8EE8F220BD3F}" type="presParOf" srcId="{7AB79E29-99D0-48EE-BFB3-0C7371823820}" destId="{6DD88D4E-D9C0-4AE8-A20E-A1D9058227CA}" srcOrd="5" destOrd="0" presId="urn:microsoft.com/office/officeart/2005/8/layout/vList5"/>
    <dgm:cxn modelId="{B7026AC8-8516-40B6-A9F3-8EAEDF08CECA}" type="presParOf" srcId="{7AB79E29-99D0-48EE-BFB3-0C7371823820}" destId="{8A899028-1A24-4BF3-B5AD-071AB500675B}" srcOrd="6" destOrd="0" presId="urn:microsoft.com/office/officeart/2005/8/layout/vList5"/>
    <dgm:cxn modelId="{5114E56F-1C3A-48C3-BAA7-3B84EFEBBAEC}" type="presParOf" srcId="{8A899028-1A24-4BF3-B5AD-071AB500675B}" destId="{E06A0108-EFF1-423D-A354-9E7E280B3250}" srcOrd="0" destOrd="0" presId="urn:microsoft.com/office/officeart/2005/8/layout/vList5"/>
    <dgm:cxn modelId="{5AD7E834-76CA-4256-A419-683B688BC002}" type="presParOf" srcId="{8A899028-1A24-4BF3-B5AD-071AB500675B}" destId="{4E44DBA6-16C3-436E-BAAF-AC843AC2C864}" srcOrd="1" destOrd="0" presId="urn:microsoft.com/office/officeart/2005/8/layout/vList5"/>
    <dgm:cxn modelId="{9A737034-E60C-48F6-AB2A-CFE7D7F2403A}" type="presParOf" srcId="{7AB79E29-99D0-48EE-BFB3-0C7371823820}" destId="{BDC77999-7BB6-4570-AD07-628BFE6EC1B7}" srcOrd="7" destOrd="0" presId="urn:microsoft.com/office/officeart/2005/8/layout/vList5"/>
    <dgm:cxn modelId="{3F1F9CB1-17AB-4CDE-BCB6-72F8A7294D15}" type="presParOf" srcId="{7AB79E29-99D0-48EE-BFB3-0C7371823820}" destId="{066C67FE-8913-43A4-8AB4-3092CAF406BD}" srcOrd="8" destOrd="0" presId="urn:microsoft.com/office/officeart/2005/8/layout/vList5"/>
    <dgm:cxn modelId="{5EFD4029-F0C1-428A-AD7F-65A05C913D91}" type="presParOf" srcId="{066C67FE-8913-43A4-8AB4-3092CAF406BD}" destId="{BC4526AF-2EAB-4E8A-A353-77D12FAC2F15}" srcOrd="0" destOrd="0" presId="urn:microsoft.com/office/officeart/2005/8/layout/vList5"/>
    <dgm:cxn modelId="{8B3E2BCD-B681-444F-9FB2-7FFFA4F4CD04}" type="presParOf" srcId="{066C67FE-8913-43A4-8AB4-3092CAF406BD}" destId="{CE407802-79FE-4B31-9D8F-DA1959A708C8}" srcOrd="1" destOrd="0" presId="urn:microsoft.com/office/officeart/2005/8/layout/vList5"/>
    <dgm:cxn modelId="{27396068-979C-4208-A081-0D2EB157D712}" type="presParOf" srcId="{7AB79E29-99D0-48EE-BFB3-0C7371823820}" destId="{4FB4FD20-B5AA-4F21-9293-2BCEF4F9DC14}" srcOrd="9" destOrd="0" presId="urn:microsoft.com/office/officeart/2005/8/layout/vList5"/>
    <dgm:cxn modelId="{97EBA107-369D-4CD2-A7CF-05295EBB23F3}" type="presParOf" srcId="{7AB79E29-99D0-48EE-BFB3-0C7371823820}" destId="{854A0047-D822-4CBF-8F84-21E896EFF934}" srcOrd="10" destOrd="0" presId="urn:microsoft.com/office/officeart/2005/8/layout/vList5"/>
    <dgm:cxn modelId="{7F0368F4-E951-4A44-B0D6-820B5B9FF1E7}" type="presParOf" srcId="{854A0047-D822-4CBF-8F84-21E896EFF934}" destId="{63A621D9-7E51-488D-A87F-C91AEC1D1623}" srcOrd="0" destOrd="0" presId="urn:microsoft.com/office/officeart/2005/8/layout/vList5"/>
    <dgm:cxn modelId="{EB2F8B5B-127F-45F0-B486-9EA2F1B24F0F}" type="presParOf" srcId="{854A0047-D822-4CBF-8F84-21E896EFF934}" destId="{49483BC9-7EBB-4B07-84C4-29A8C81CE3A2}" srcOrd="1" destOrd="0" presId="urn:microsoft.com/office/officeart/2005/8/layout/vList5"/>
    <dgm:cxn modelId="{F6F1F496-A9A7-461F-AFCD-7F29DF94B72A}" type="presParOf" srcId="{7AB79E29-99D0-48EE-BFB3-0C7371823820}" destId="{8AB37C23-DFAD-4A20-BB34-ABCB28C7DCA7}" srcOrd="11" destOrd="0" presId="urn:microsoft.com/office/officeart/2005/8/layout/vList5"/>
    <dgm:cxn modelId="{9816CC26-40EB-45BA-9357-E061AC177ED0}" type="presParOf" srcId="{7AB79E29-99D0-48EE-BFB3-0C7371823820}" destId="{B52BFBB0-CC4D-46D4-A0C7-202CE2A69109}" srcOrd="12" destOrd="0" presId="urn:microsoft.com/office/officeart/2005/8/layout/vList5"/>
    <dgm:cxn modelId="{F1711B74-F2A0-40BF-8C69-BC12F1C1C5EE}" type="presParOf" srcId="{B52BFBB0-CC4D-46D4-A0C7-202CE2A69109}" destId="{A4268063-F919-45C8-96D6-E0469ED8C6E7}" srcOrd="0" destOrd="0" presId="urn:microsoft.com/office/officeart/2005/8/layout/vList5"/>
    <dgm:cxn modelId="{6B29875A-B640-43AB-B1DD-142ACFFCA845}" type="presParOf" srcId="{B52BFBB0-CC4D-46D4-A0C7-202CE2A69109}" destId="{A63DC958-F01E-461D-9803-CE9D682108D1}" srcOrd="1" destOrd="0" presId="urn:microsoft.com/office/officeart/2005/8/layout/vList5"/>
    <dgm:cxn modelId="{AFB93AAD-5A22-4EE1-86A9-ED3FE65F18E3}" type="presParOf" srcId="{7AB79E29-99D0-48EE-BFB3-0C7371823820}" destId="{A08D5657-7254-46A5-9749-172A44D998F5}" srcOrd="13" destOrd="0" presId="urn:microsoft.com/office/officeart/2005/8/layout/vList5"/>
    <dgm:cxn modelId="{80D00FB4-1C18-4B23-9D52-AD3E33685D01}" type="presParOf" srcId="{7AB79E29-99D0-48EE-BFB3-0C7371823820}" destId="{74B280C3-7D04-4EA2-A037-CE2701F56A93}" srcOrd="14" destOrd="0" presId="urn:microsoft.com/office/officeart/2005/8/layout/vList5"/>
    <dgm:cxn modelId="{86D4454B-FFA8-448D-9DFB-8E300602AFA7}" type="presParOf" srcId="{74B280C3-7D04-4EA2-A037-CE2701F56A93}" destId="{4C024234-C58C-41AF-8E8E-9314898FF03F}" srcOrd="0" destOrd="0" presId="urn:microsoft.com/office/officeart/2005/8/layout/vList5"/>
    <dgm:cxn modelId="{D0C37AAF-1293-4F25-A03B-660A4DA00D92}" type="presParOf" srcId="{74B280C3-7D04-4EA2-A037-CE2701F56A93}" destId="{C44360D4-090F-4F2C-9A70-603F26F2986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AU" sz="2400" dirty="0"/>
            <a:t>What are the physical join operators?</a:t>
          </a:r>
          <a:endParaRPr lang="en-US" sz="2400"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AU" sz="2400" dirty="0"/>
            <a:t>What is a method to eliminate a lookup?</a:t>
          </a:r>
          <a:endParaRPr lang="en-US" sz="2400" dirty="0"/>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Is it recommended to eliminate all lookups operators? </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custT="1"/>
      <dgm:spPr/>
      <dgm:t>
        <a:bodyPr/>
        <a:lstStyle/>
        <a:p>
          <a:r>
            <a:rPr lang="en-AU" sz="2400" dirty="0"/>
            <a:t>Under what circumstances would a table scan be more efficient than an index seek on a non-clustered, non-covering index?</a:t>
          </a:r>
          <a:endParaRPr lang="en-US" sz="2400" dirty="0"/>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custT="1"/>
      <dgm:spPr>
        <a:solidFill>
          <a:schemeClr val="hlink"/>
        </a:solidFill>
      </dgm:spPr>
      <dgm:t>
        <a:bodyPr/>
        <a:lstStyle/>
        <a:p>
          <a:r>
            <a:rPr lang="en-US" sz="2400" dirty="0"/>
            <a:t>Is a Clustered Index Scan more efficient than a Table Scan? </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5">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5">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5" custLinFactY="-85" custLinFactNeighborX="0" custLinFactNeighborY="-100000">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7D03CC0-0BCA-47C1-BCDF-56DCD538153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9146951-0965-4BFB-A57D-1B9CA56EB8C5}">
      <dgm:prSet custT="1"/>
      <dgm:spPr/>
      <dgm:t>
        <a:bodyPr/>
        <a:lstStyle/>
        <a:p>
          <a:r>
            <a:rPr lang="en-US" sz="1500" dirty="0"/>
            <a:t>The choice of a Hash Join or Nested Loops join method is deferred until after the first input has been scanned.</a:t>
          </a:r>
        </a:p>
      </dgm:t>
    </dgm:pt>
    <dgm:pt modelId="{7B8DE39D-FD0F-44FF-A5FD-CB8746A2D323}" type="parTrans" cxnId="{B3E4FB02-6216-408D-B7CA-B28FC8C2ABD3}">
      <dgm:prSet/>
      <dgm:spPr/>
      <dgm:t>
        <a:bodyPr/>
        <a:lstStyle/>
        <a:p>
          <a:endParaRPr lang="en-US" sz="1400"/>
        </a:p>
      </dgm:t>
    </dgm:pt>
    <dgm:pt modelId="{45FDF05D-1D19-438F-A8BA-C6B69560138A}" type="sibTrans" cxnId="{B3E4FB02-6216-408D-B7CA-B28FC8C2ABD3}">
      <dgm:prSet/>
      <dgm:spPr/>
      <dgm:t>
        <a:bodyPr/>
        <a:lstStyle/>
        <a:p>
          <a:endParaRPr lang="en-US" sz="1400"/>
        </a:p>
      </dgm:t>
    </dgm:pt>
    <dgm:pt modelId="{BA72F53D-5034-412A-B63A-C3881C6728EB}">
      <dgm:prSet custT="1"/>
      <dgm:spPr/>
      <dgm:t>
        <a:bodyPr/>
        <a:lstStyle/>
        <a:p>
          <a:r>
            <a:rPr lang="en-US" sz="1500" dirty="0"/>
            <a:t>A threshold is used to decide when to switch to a Nested Loops plan, allowing a query plan to use a better join strategy during execution without to be recompiled.</a:t>
          </a:r>
        </a:p>
      </dgm:t>
    </dgm:pt>
    <dgm:pt modelId="{353A9BAE-FA57-463F-ACD0-CAF75AA65C1A}" type="parTrans" cxnId="{D53E654C-E73E-45E2-A6AF-0F5359F72A8A}">
      <dgm:prSet/>
      <dgm:spPr/>
      <dgm:t>
        <a:bodyPr/>
        <a:lstStyle/>
        <a:p>
          <a:endParaRPr lang="en-US" sz="1400"/>
        </a:p>
      </dgm:t>
    </dgm:pt>
    <dgm:pt modelId="{1FB6F626-EBD7-49D0-8D2F-EF9A4D03892E}" type="sibTrans" cxnId="{D53E654C-E73E-45E2-A6AF-0F5359F72A8A}">
      <dgm:prSet/>
      <dgm:spPr/>
      <dgm:t>
        <a:bodyPr/>
        <a:lstStyle/>
        <a:p>
          <a:endParaRPr lang="en-US" sz="1400"/>
        </a:p>
      </dgm:t>
    </dgm:pt>
    <dgm:pt modelId="{3BDDD2D5-8580-4A57-88C4-68E718F3B53C}">
      <dgm:prSet custT="1"/>
      <dgm:spPr/>
      <dgm:t>
        <a:bodyPr/>
        <a:lstStyle/>
        <a:p>
          <a:r>
            <a:rPr lang="en-US" sz="1500" dirty="0"/>
            <a:t>Workloads with frequent oscillations between small and large join input scans will benefit most from this feature.</a:t>
          </a:r>
        </a:p>
      </dgm:t>
    </dgm:pt>
    <dgm:pt modelId="{57DB9EF9-4F98-4225-A03D-D197D416C519}" type="parTrans" cxnId="{962845E2-0207-4E3C-80D7-AACA733C7190}">
      <dgm:prSet/>
      <dgm:spPr/>
      <dgm:t>
        <a:bodyPr/>
        <a:lstStyle/>
        <a:p>
          <a:endParaRPr lang="en-US" sz="1400"/>
        </a:p>
      </dgm:t>
    </dgm:pt>
    <dgm:pt modelId="{4A774D35-B83E-4665-8FEA-DB645212A3D4}" type="sibTrans" cxnId="{962845E2-0207-4E3C-80D7-AACA733C7190}">
      <dgm:prSet/>
      <dgm:spPr/>
      <dgm:t>
        <a:bodyPr/>
        <a:lstStyle/>
        <a:p>
          <a:endParaRPr lang="en-US" sz="1400"/>
        </a:p>
      </dgm:t>
    </dgm:pt>
    <dgm:pt modelId="{F6243B1F-C3F4-49E1-BCBE-CDC8141CC695}" type="pres">
      <dgm:prSet presAssocID="{E7D03CC0-0BCA-47C1-BCDF-56DCD5381530}" presName="diagram" presStyleCnt="0">
        <dgm:presLayoutVars>
          <dgm:dir/>
          <dgm:resizeHandles val="exact"/>
        </dgm:presLayoutVars>
      </dgm:prSet>
      <dgm:spPr/>
    </dgm:pt>
    <dgm:pt modelId="{6EACAFEA-C2B1-41D4-93B6-13D50D5431E7}" type="pres">
      <dgm:prSet presAssocID="{59146951-0965-4BFB-A57D-1B9CA56EB8C5}" presName="node" presStyleLbl="node1" presStyleIdx="0" presStyleCnt="3" custScaleX="148377">
        <dgm:presLayoutVars>
          <dgm:bulletEnabled val="1"/>
        </dgm:presLayoutVars>
      </dgm:prSet>
      <dgm:spPr/>
    </dgm:pt>
    <dgm:pt modelId="{A6857558-43CA-41DE-AAEE-8C4BAE40FC78}" type="pres">
      <dgm:prSet presAssocID="{45FDF05D-1D19-438F-A8BA-C6B69560138A}" presName="sibTrans" presStyleCnt="0"/>
      <dgm:spPr/>
    </dgm:pt>
    <dgm:pt modelId="{52B72E54-28A3-4CE5-87D7-F960362E8795}" type="pres">
      <dgm:prSet presAssocID="{BA72F53D-5034-412A-B63A-C3881C6728EB}" presName="node" presStyleLbl="node1" presStyleIdx="1" presStyleCnt="3" custScaleX="148377">
        <dgm:presLayoutVars>
          <dgm:bulletEnabled val="1"/>
        </dgm:presLayoutVars>
      </dgm:prSet>
      <dgm:spPr/>
    </dgm:pt>
    <dgm:pt modelId="{1BE0F91B-032C-4657-8B2C-33A6C45AE35A}" type="pres">
      <dgm:prSet presAssocID="{1FB6F626-EBD7-49D0-8D2F-EF9A4D03892E}" presName="sibTrans" presStyleCnt="0"/>
      <dgm:spPr/>
    </dgm:pt>
    <dgm:pt modelId="{2ED56573-A70A-489E-805B-C562B7289DA4}" type="pres">
      <dgm:prSet presAssocID="{3BDDD2D5-8580-4A57-88C4-68E718F3B53C}" presName="node" presStyleLbl="node1" presStyleIdx="2" presStyleCnt="3" custScaleX="148377">
        <dgm:presLayoutVars>
          <dgm:bulletEnabled val="1"/>
        </dgm:presLayoutVars>
      </dgm:prSet>
      <dgm:spPr/>
    </dgm:pt>
  </dgm:ptLst>
  <dgm:cxnLst>
    <dgm:cxn modelId="{B3E4FB02-6216-408D-B7CA-B28FC8C2ABD3}" srcId="{E7D03CC0-0BCA-47C1-BCDF-56DCD5381530}" destId="{59146951-0965-4BFB-A57D-1B9CA56EB8C5}" srcOrd="0" destOrd="0" parTransId="{7B8DE39D-FD0F-44FF-A5FD-CB8746A2D323}" sibTransId="{45FDF05D-1D19-438F-A8BA-C6B69560138A}"/>
    <dgm:cxn modelId="{53CD0306-3A83-4F7A-B0A3-07AEFDF1E5E3}" type="presOf" srcId="{BA72F53D-5034-412A-B63A-C3881C6728EB}" destId="{52B72E54-28A3-4CE5-87D7-F960362E8795}" srcOrd="0" destOrd="0" presId="urn:microsoft.com/office/officeart/2005/8/layout/default"/>
    <dgm:cxn modelId="{6B72E518-7CE4-462A-B07A-383ABE9FD939}" type="presOf" srcId="{59146951-0965-4BFB-A57D-1B9CA56EB8C5}" destId="{6EACAFEA-C2B1-41D4-93B6-13D50D5431E7}" srcOrd="0" destOrd="0" presId="urn:microsoft.com/office/officeart/2005/8/layout/default"/>
    <dgm:cxn modelId="{D53E654C-E73E-45E2-A6AF-0F5359F72A8A}" srcId="{E7D03CC0-0BCA-47C1-BCDF-56DCD5381530}" destId="{BA72F53D-5034-412A-B63A-C3881C6728EB}" srcOrd="1" destOrd="0" parTransId="{353A9BAE-FA57-463F-ACD0-CAF75AA65C1A}" sibTransId="{1FB6F626-EBD7-49D0-8D2F-EF9A4D03892E}"/>
    <dgm:cxn modelId="{DD144A87-9F4D-413B-88F7-E1363DC181BA}" type="presOf" srcId="{3BDDD2D5-8580-4A57-88C4-68E718F3B53C}" destId="{2ED56573-A70A-489E-805B-C562B7289DA4}" srcOrd="0" destOrd="0" presId="urn:microsoft.com/office/officeart/2005/8/layout/default"/>
    <dgm:cxn modelId="{738BC2BE-1969-4B1C-B089-4D57B95932FF}" type="presOf" srcId="{E7D03CC0-0BCA-47C1-BCDF-56DCD5381530}" destId="{F6243B1F-C3F4-49E1-BCBE-CDC8141CC695}" srcOrd="0" destOrd="0" presId="urn:microsoft.com/office/officeart/2005/8/layout/default"/>
    <dgm:cxn modelId="{962845E2-0207-4E3C-80D7-AACA733C7190}" srcId="{E7D03CC0-0BCA-47C1-BCDF-56DCD5381530}" destId="{3BDDD2D5-8580-4A57-88C4-68E718F3B53C}" srcOrd="2" destOrd="0" parTransId="{57DB9EF9-4F98-4225-A03D-D197D416C519}" sibTransId="{4A774D35-B83E-4665-8FEA-DB645212A3D4}"/>
    <dgm:cxn modelId="{BE2BCDCD-49D7-45AA-A97E-EE90EC6B6B1B}" type="presParOf" srcId="{F6243B1F-C3F4-49E1-BCBE-CDC8141CC695}" destId="{6EACAFEA-C2B1-41D4-93B6-13D50D5431E7}" srcOrd="0" destOrd="0" presId="urn:microsoft.com/office/officeart/2005/8/layout/default"/>
    <dgm:cxn modelId="{6DD0CBDB-A30E-4B3A-A967-B22AA777CFA6}" type="presParOf" srcId="{F6243B1F-C3F4-49E1-BCBE-CDC8141CC695}" destId="{A6857558-43CA-41DE-AAEE-8C4BAE40FC78}" srcOrd="1" destOrd="0" presId="urn:microsoft.com/office/officeart/2005/8/layout/default"/>
    <dgm:cxn modelId="{66229E33-249B-41D9-852F-E19473270588}" type="presParOf" srcId="{F6243B1F-C3F4-49E1-BCBE-CDC8141CC695}" destId="{52B72E54-28A3-4CE5-87D7-F960362E8795}" srcOrd="2" destOrd="0" presId="urn:microsoft.com/office/officeart/2005/8/layout/default"/>
    <dgm:cxn modelId="{461E5201-EABD-4368-A735-DABAD6C3B794}" type="presParOf" srcId="{F6243B1F-C3F4-49E1-BCBE-CDC8141CC695}" destId="{1BE0F91B-032C-4657-8B2C-33A6C45AE35A}" srcOrd="3" destOrd="0" presId="urn:microsoft.com/office/officeart/2005/8/layout/default"/>
    <dgm:cxn modelId="{CD587CC7-C542-4D12-AE46-1B57768E1277}" type="presParOf" srcId="{F6243B1F-C3F4-49E1-BCBE-CDC8141CC695}" destId="{2ED56573-A70A-489E-805B-C562B7289DA4}" srcOrd="4"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801B4967-306D-45A3-85B7-112438D8D4E7}"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3214F1D5-4771-41C3-B183-4AFB09A1EF5E}">
      <dgm:prSet phldrT="[Text]"/>
      <dgm:spPr/>
      <dgm:t>
        <a:bodyPr/>
        <a:lstStyle/>
        <a:p>
          <a:r>
            <a:rPr lang="en-GB" dirty="0"/>
            <a:t>By addressing repeating workloads, it recalculates the actual memory required for a query and then updates the grant value for the cached plan. </a:t>
          </a:r>
          <a:endParaRPr lang="en-US" dirty="0"/>
        </a:p>
      </dgm:t>
    </dgm:pt>
    <dgm:pt modelId="{E2F067B7-671A-405A-81AF-5411C405A3C6}" type="parTrans" cxnId="{C68EEE32-C60B-4066-967C-7E32B5413FC2}">
      <dgm:prSet/>
      <dgm:spPr/>
      <dgm:t>
        <a:bodyPr/>
        <a:lstStyle/>
        <a:p>
          <a:endParaRPr lang="en-US"/>
        </a:p>
      </dgm:t>
    </dgm:pt>
    <dgm:pt modelId="{39E2475C-F96D-4FA6-AB00-3C53F34672C5}" type="sibTrans" cxnId="{C68EEE32-C60B-4066-967C-7E32B5413FC2}">
      <dgm:prSet/>
      <dgm:spPr/>
      <dgm:t>
        <a:bodyPr/>
        <a:lstStyle/>
        <a:p>
          <a:endParaRPr lang="en-US"/>
        </a:p>
      </dgm:t>
    </dgm:pt>
    <dgm:pt modelId="{CCAA6432-E9B7-471D-900D-413FFE83188D}">
      <dgm:prSet phldrT="[Text]"/>
      <dgm:spPr/>
      <dgm:t>
        <a:bodyPr/>
        <a:lstStyle/>
        <a:p>
          <a:r>
            <a:rPr lang="en-US" b="0" i="0" dirty="0"/>
            <a:t>For parameter-sensitive plans, memory grant feedback will disable itself on a query if it has unstable memory requirements.</a:t>
          </a:r>
          <a:endParaRPr lang="en-US" dirty="0"/>
        </a:p>
      </dgm:t>
    </dgm:pt>
    <dgm:pt modelId="{51A175A1-25E8-4848-A444-93D942C23FFC}" type="parTrans" cxnId="{EC9E3BFD-1061-4548-BF04-BE72779D53F8}">
      <dgm:prSet/>
      <dgm:spPr/>
      <dgm:t>
        <a:bodyPr/>
        <a:lstStyle/>
        <a:p>
          <a:endParaRPr lang="en-US"/>
        </a:p>
      </dgm:t>
    </dgm:pt>
    <dgm:pt modelId="{30A848BA-C308-4AC3-9E26-DA4E8970AB67}" type="sibTrans" cxnId="{EC9E3BFD-1061-4548-BF04-BE72779D53F8}">
      <dgm:prSet/>
      <dgm:spPr/>
      <dgm:t>
        <a:bodyPr/>
        <a:lstStyle/>
        <a:p>
          <a:endParaRPr lang="en-US"/>
        </a:p>
      </dgm:t>
    </dgm:pt>
    <dgm:pt modelId="{A71CB220-5C51-4861-BDBB-A5179C42DBEE}" type="pres">
      <dgm:prSet presAssocID="{801B4967-306D-45A3-85B7-112438D8D4E7}" presName="diagram" presStyleCnt="0">
        <dgm:presLayoutVars>
          <dgm:dir/>
          <dgm:resizeHandles val="exact"/>
        </dgm:presLayoutVars>
      </dgm:prSet>
      <dgm:spPr/>
    </dgm:pt>
    <dgm:pt modelId="{4E83921C-E6A3-428D-BEEA-0B964855A36B}" type="pres">
      <dgm:prSet presAssocID="{3214F1D5-4771-41C3-B183-4AFB09A1EF5E}" presName="node" presStyleLbl="node1" presStyleIdx="0" presStyleCnt="2" custScaleX="161893">
        <dgm:presLayoutVars>
          <dgm:bulletEnabled val="1"/>
        </dgm:presLayoutVars>
      </dgm:prSet>
      <dgm:spPr/>
    </dgm:pt>
    <dgm:pt modelId="{9F5A75C1-D9D7-4511-BCB7-DA4144B2451D}" type="pres">
      <dgm:prSet presAssocID="{39E2475C-F96D-4FA6-AB00-3C53F34672C5}" presName="sibTrans" presStyleCnt="0"/>
      <dgm:spPr/>
    </dgm:pt>
    <dgm:pt modelId="{B72E014E-67FF-46D9-A089-1971F048D08F}" type="pres">
      <dgm:prSet presAssocID="{CCAA6432-E9B7-471D-900D-413FFE83188D}" presName="node" presStyleLbl="node1" presStyleIdx="1" presStyleCnt="2" custScaleX="161893">
        <dgm:presLayoutVars>
          <dgm:bulletEnabled val="1"/>
        </dgm:presLayoutVars>
      </dgm:prSet>
      <dgm:spPr/>
    </dgm:pt>
  </dgm:ptLst>
  <dgm:cxnLst>
    <dgm:cxn modelId="{6CA64226-B7C4-47AA-9978-9BD4C3E09247}" type="presOf" srcId="{3214F1D5-4771-41C3-B183-4AFB09A1EF5E}" destId="{4E83921C-E6A3-428D-BEEA-0B964855A36B}" srcOrd="0" destOrd="0" presId="urn:microsoft.com/office/officeart/2005/8/layout/default"/>
    <dgm:cxn modelId="{C68EEE32-C60B-4066-967C-7E32B5413FC2}" srcId="{801B4967-306D-45A3-85B7-112438D8D4E7}" destId="{3214F1D5-4771-41C3-B183-4AFB09A1EF5E}" srcOrd="0" destOrd="0" parTransId="{E2F067B7-671A-405A-81AF-5411C405A3C6}" sibTransId="{39E2475C-F96D-4FA6-AB00-3C53F34672C5}"/>
    <dgm:cxn modelId="{A6181370-0949-418F-B597-0B0B7AB6260B}" type="presOf" srcId="{801B4967-306D-45A3-85B7-112438D8D4E7}" destId="{A71CB220-5C51-4861-BDBB-A5179C42DBEE}" srcOrd="0" destOrd="0" presId="urn:microsoft.com/office/officeart/2005/8/layout/default"/>
    <dgm:cxn modelId="{867996F4-96AB-4BFF-9BC6-FCD10FBD2EE1}" type="presOf" srcId="{CCAA6432-E9B7-471D-900D-413FFE83188D}" destId="{B72E014E-67FF-46D9-A089-1971F048D08F}" srcOrd="0" destOrd="0" presId="urn:microsoft.com/office/officeart/2005/8/layout/default"/>
    <dgm:cxn modelId="{EC9E3BFD-1061-4548-BF04-BE72779D53F8}" srcId="{801B4967-306D-45A3-85B7-112438D8D4E7}" destId="{CCAA6432-E9B7-471D-900D-413FFE83188D}" srcOrd="1" destOrd="0" parTransId="{51A175A1-25E8-4848-A444-93D942C23FFC}" sibTransId="{30A848BA-C308-4AC3-9E26-DA4E8970AB67}"/>
    <dgm:cxn modelId="{7B59CCDA-7ABA-4BB9-B69A-F89F80222B54}" type="presParOf" srcId="{A71CB220-5C51-4861-BDBB-A5179C42DBEE}" destId="{4E83921C-E6A3-428D-BEEA-0B964855A36B}" srcOrd="0" destOrd="0" presId="urn:microsoft.com/office/officeart/2005/8/layout/default"/>
    <dgm:cxn modelId="{2DA6D411-7B17-427D-B5D4-DEDA21A572E2}" type="presParOf" srcId="{A71CB220-5C51-4861-BDBB-A5179C42DBEE}" destId="{9F5A75C1-D9D7-4511-BCB7-DA4144B2451D}" srcOrd="1" destOrd="0" presId="urn:microsoft.com/office/officeart/2005/8/layout/default"/>
    <dgm:cxn modelId="{F0B02BEA-FEFB-4F43-A64F-FFF6262D8C31}" type="presParOf" srcId="{A71CB220-5C51-4861-BDBB-A5179C42DBEE}" destId="{B72E014E-67FF-46D9-A089-1971F048D08F}" srcOrd="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7FDFEEF7-9BCF-49CA-9A81-1603994EAC7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B5E5934-4EFD-465D-8831-5BA3459FD2E1}">
      <dgm:prSet phldrT="[Text]" custT="1"/>
      <dgm:spPr/>
      <dgm:t>
        <a:bodyPr/>
        <a:lstStyle/>
        <a:p>
          <a:pPr>
            <a:buNone/>
          </a:pPr>
          <a:r>
            <a:rPr lang="en-US" sz="2000" dirty="0"/>
            <a:t>Compilation of a statement that references a table variable is deferred until the first actual execution. </a:t>
          </a:r>
        </a:p>
      </dgm:t>
    </dgm:pt>
    <dgm:pt modelId="{53E31F11-811B-4504-B74A-6B25E3889CE5}" type="parTrans" cxnId="{1C3C5E08-D475-43B6-A6A4-A301840EB8FD}">
      <dgm:prSet/>
      <dgm:spPr/>
      <dgm:t>
        <a:bodyPr/>
        <a:lstStyle/>
        <a:p>
          <a:endParaRPr lang="en-US"/>
        </a:p>
      </dgm:t>
    </dgm:pt>
    <dgm:pt modelId="{0567AB3A-753C-4F06-91CC-26B9AB14CE2A}" type="sibTrans" cxnId="{1C3C5E08-D475-43B6-A6A4-A301840EB8FD}">
      <dgm:prSet/>
      <dgm:spPr/>
      <dgm:t>
        <a:bodyPr/>
        <a:lstStyle/>
        <a:p>
          <a:endParaRPr lang="en-US"/>
        </a:p>
      </dgm:t>
    </dgm:pt>
    <dgm:pt modelId="{1E9001F5-18F6-4127-8C80-B650953E6C19}">
      <dgm:prSet phldrT="[Text]" custT="1"/>
      <dgm:spPr/>
      <dgm:t>
        <a:bodyPr/>
        <a:lstStyle/>
        <a:p>
          <a:r>
            <a:rPr lang="en-US" sz="2000" b="0" i="0" dirty="0"/>
            <a:t>Performance may not be improved by this feature if the table variable row count varies significantly across executions.</a:t>
          </a:r>
          <a:endParaRPr lang="en-US" sz="2000" dirty="0"/>
        </a:p>
      </dgm:t>
    </dgm:pt>
    <dgm:pt modelId="{14A6D4DA-9DD2-4D74-8237-705124316D40}" type="parTrans" cxnId="{5F129D82-B95B-4BCD-9C2F-7DEB0911C236}">
      <dgm:prSet/>
      <dgm:spPr/>
      <dgm:t>
        <a:bodyPr/>
        <a:lstStyle/>
        <a:p>
          <a:endParaRPr lang="en-US"/>
        </a:p>
      </dgm:t>
    </dgm:pt>
    <dgm:pt modelId="{2C9C9349-900C-425E-9675-B336BA51208E}" type="sibTrans" cxnId="{5F129D82-B95B-4BCD-9C2F-7DEB0911C236}">
      <dgm:prSet/>
      <dgm:spPr/>
      <dgm:t>
        <a:bodyPr/>
        <a:lstStyle/>
        <a:p>
          <a:endParaRPr lang="en-US"/>
        </a:p>
      </dgm:t>
    </dgm:pt>
    <dgm:pt modelId="{B12B9D1D-CEB1-4B2F-AB25-FB6FB9E6CD1C}">
      <dgm:prSet custT="1"/>
      <dgm:spPr/>
      <dgm:t>
        <a:bodyPr/>
        <a:lstStyle/>
        <a:p>
          <a:r>
            <a:rPr lang="en-US" sz="2000" dirty="0"/>
            <a:t>Table variable deferred compilation doesn't change any other characteristics of table variables.</a:t>
          </a:r>
        </a:p>
      </dgm:t>
    </dgm:pt>
    <dgm:pt modelId="{2591463A-193A-4F4B-9CA3-061EBB684ABE}" type="parTrans" cxnId="{4E20968A-1DC7-402C-9BFA-42A73AB38686}">
      <dgm:prSet/>
      <dgm:spPr/>
      <dgm:t>
        <a:bodyPr/>
        <a:lstStyle/>
        <a:p>
          <a:endParaRPr lang="en-US"/>
        </a:p>
      </dgm:t>
    </dgm:pt>
    <dgm:pt modelId="{C2B66142-665C-4E0F-9C12-5D904232F415}" type="sibTrans" cxnId="{4E20968A-1DC7-402C-9BFA-42A73AB38686}">
      <dgm:prSet/>
      <dgm:spPr/>
      <dgm:t>
        <a:bodyPr/>
        <a:lstStyle/>
        <a:p>
          <a:endParaRPr lang="en-US"/>
        </a:p>
      </dgm:t>
    </dgm:pt>
    <dgm:pt modelId="{EF6F31E8-DFA5-41D1-B4F7-677B4BECCF20}">
      <dgm:prSet custT="1"/>
      <dgm:spPr/>
      <dgm:t>
        <a:bodyPr/>
        <a:lstStyle/>
        <a:p>
          <a:r>
            <a:rPr lang="en-US" sz="2000" dirty="0"/>
            <a:t>Table variable deferred compilation </a:t>
          </a:r>
          <a:r>
            <a:rPr lang="en-US" sz="2000" b="1" dirty="0"/>
            <a:t>doesn't increase recompilation frequency</a:t>
          </a:r>
          <a:r>
            <a:rPr lang="en-US" sz="2000" dirty="0"/>
            <a:t>.</a:t>
          </a:r>
        </a:p>
      </dgm:t>
    </dgm:pt>
    <dgm:pt modelId="{0B862B93-356D-4A87-990A-34BD61A346A3}" type="parTrans" cxnId="{57DE2497-CCA7-4068-A2A3-D1886780542D}">
      <dgm:prSet/>
      <dgm:spPr/>
      <dgm:t>
        <a:bodyPr/>
        <a:lstStyle/>
        <a:p>
          <a:endParaRPr lang="en-US"/>
        </a:p>
      </dgm:t>
    </dgm:pt>
    <dgm:pt modelId="{D4182C72-18E4-4848-ACB3-C65585A233F4}" type="sibTrans" cxnId="{57DE2497-CCA7-4068-A2A3-D1886780542D}">
      <dgm:prSet/>
      <dgm:spPr/>
      <dgm:t>
        <a:bodyPr/>
        <a:lstStyle/>
        <a:p>
          <a:endParaRPr lang="en-US"/>
        </a:p>
      </dgm:t>
    </dgm:pt>
    <dgm:pt modelId="{7D2E40AD-79C1-46D3-854D-2A8CDF90D286}">
      <dgm:prSet custT="1"/>
      <dgm:spPr/>
      <dgm:t>
        <a:bodyPr/>
        <a:lstStyle/>
        <a:p>
          <a:r>
            <a:rPr lang="en-US" sz="2000" b="0" i="0" dirty="0"/>
            <a:t>Cached plan is generated based on the initial deferred compilation table variable row count </a:t>
          </a:r>
          <a:r>
            <a:rPr lang="en-US" sz="2000" dirty="0"/>
            <a:t>instead of the original one-row guess.</a:t>
          </a:r>
        </a:p>
      </dgm:t>
    </dgm:pt>
    <dgm:pt modelId="{B5ACC83F-2B5C-48C8-B98E-496008FAF725}" type="parTrans" cxnId="{61F693DF-5308-473E-B4B2-6D374EFA3A72}">
      <dgm:prSet/>
      <dgm:spPr/>
      <dgm:t>
        <a:bodyPr/>
        <a:lstStyle/>
        <a:p>
          <a:endParaRPr lang="en-US"/>
        </a:p>
      </dgm:t>
    </dgm:pt>
    <dgm:pt modelId="{B3802146-B5B4-4144-9C63-01CCCFC75EE4}" type="sibTrans" cxnId="{61F693DF-5308-473E-B4B2-6D374EFA3A72}">
      <dgm:prSet/>
      <dgm:spPr/>
      <dgm:t>
        <a:bodyPr/>
        <a:lstStyle/>
        <a:p>
          <a:endParaRPr lang="en-US"/>
        </a:p>
      </dgm:t>
    </dgm:pt>
    <dgm:pt modelId="{0DE0FB23-184A-4007-AF92-AA6D5A4DCCC0}" type="pres">
      <dgm:prSet presAssocID="{7FDFEEF7-9BCF-49CA-9A81-1603994EAC79}" presName="diagram" presStyleCnt="0">
        <dgm:presLayoutVars>
          <dgm:dir/>
          <dgm:resizeHandles val="exact"/>
        </dgm:presLayoutVars>
      </dgm:prSet>
      <dgm:spPr/>
    </dgm:pt>
    <dgm:pt modelId="{EAD43947-D38A-4521-BFB6-40587A913D43}" type="pres">
      <dgm:prSet presAssocID="{2B5E5934-4EFD-465D-8831-5BA3459FD2E1}" presName="node" presStyleLbl="node1" presStyleIdx="0" presStyleCnt="5">
        <dgm:presLayoutVars>
          <dgm:bulletEnabled val="1"/>
        </dgm:presLayoutVars>
      </dgm:prSet>
      <dgm:spPr/>
    </dgm:pt>
    <dgm:pt modelId="{295973C2-AFCD-42CA-86AF-972A1B3E3359}" type="pres">
      <dgm:prSet presAssocID="{0567AB3A-753C-4F06-91CC-26B9AB14CE2A}" presName="sibTrans" presStyleCnt="0"/>
      <dgm:spPr/>
    </dgm:pt>
    <dgm:pt modelId="{821D16B4-A175-4861-9ABD-81F6E06FC003}" type="pres">
      <dgm:prSet presAssocID="{B12B9D1D-CEB1-4B2F-AB25-FB6FB9E6CD1C}" presName="node" presStyleLbl="node1" presStyleIdx="1" presStyleCnt="5">
        <dgm:presLayoutVars>
          <dgm:bulletEnabled val="1"/>
        </dgm:presLayoutVars>
      </dgm:prSet>
      <dgm:spPr/>
    </dgm:pt>
    <dgm:pt modelId="{42881421-3025-4CEA-8546-3DD9E4429D43}" type="pres">
      <dgm:prSet presAssocID="{C2B66142-665C-4E0F-9C12-5D904232F415}" presName="sibTrans" presStyleCnt="0"/>
      <dgm:spPr/>
    </dgm:pt>
    <dgm:pt modelId="{C5971B66-4527-4742-992C-924E0F8747A3}" type="pres">
      <dgm:prSet presAssocID="{EF6F31E8-DFA5-41D1-B4F7-677B4BECCF20}" presName="node" presStyleLbl="node1" presStyleIdx="2" presStyleCnt="5">
        <dgm:presLayoutVars>
          <dgm:bulletEnabled val="1"/>
        </dgm:presLayoutVars>
      </dgm:prSet>
      <dgm:spPr/>
    </dgm:pt>
    <dgm:pt modelId="{E1D3954E-206D-4608-AEE4-F0F73AA993D2}" type="pres">
      <dgm:prSet presAssocID="{D4182C72-18E4-4848-ACB3-C65585A233F4}" presName="sibTrans" presStyleCnt="0"/>
      <dgm:spPr/>
    </dgm:pt>
    <dgm:pt modelId="{5765AEBF-4B7D-4FEB-BAB6-8F58E76FCAAC}" type="pres">
      <dgm:prSet presAssocID="{7D2E40AD-79C1-46D3-854D-2A8CDF90D286}" presName="node" presStyleLbl="node1" presStyleIdx="3" presStyleCnt="5">
        <dgm:presLayoutVars>
          <dgm:bulletEnabled val="1"/>
        </dgm:presLayoutVars>
      </dgm:prSet>
      <dgm:spPr/>
    </dgm:pt>
    <dgm:pt modelId="{87AA896D-BC41-43FD-ACE4-A51BAB5DEA09}" type="pres">
      <dgm:prSet presAssocID="{B3802146-B5B4-4144-9C63-01CCCFC75EE4}" presName="sibTrans" presStyleCnt="0"/>
      <dgm:spPr/>
    </dgm:pt>
    <dgm:pt modelId="{2094DF82-76DF-420C-8D09-653CBDAF6D57}" type="pres">
      <dgm:prSet presAssocID="{1E9001F5-18F6-4127-8C80-B650953E6C19}" presName="node" presStyleLbl="node1" presStyleIdx="4" presStyleCnt="5">
        <dgm:presLayoutVars>
          <dgm:bulletEnabled val="1"/>
        </dgm:presLayoutVars>
      </dgm:prSet>
      <dgm:spPr/>
    </dgm:pt>
  </dgm:ptLst>
  <dgm:cxnLst>
    <dgm:cxn modelId="{4CD3B202-A32D-4178-9109-5BCBAE9C791F}" type="presOf" srcId="{7D2E40AD-79C1-46D3-854D-2A8CDF90D286}" destId="{5765AEBF-4B7D-4FEB-BAB6-8F58E76FCAAC}" srcOrd="0" destOrd="0" presId="urn:microsoft.com/office/officeart/2005/8/layout/default"/>
    <dgm:cxn modelId="{1C3C5E08-D475-43B6-A6A4-A301840EB8FD}" srcId="{7FDFEEF7-9BCF-49CA-9A81-1603994EAC79}" destId="{2B5E5934-4EFD-465D-8831-5BA3459FD2E1}" srcOrd="0" destOrd="0" parTransId="{53E31F11-811B-4504-B74A-6B25E3889CE5}" sibTransId="{0567AB3A-753C-4F06-91CC-26B9AB14CE2A}"/>
    <dgm:cxn modelId="{08506A12-3206-45D7-8751-ABD6EB56E012}" type="presOf" srcId="{7FDFEEF7-9BCF-49CA-9A81-1603994EAC79}" destId="{0DE0FB23-184A-4007-AF92-AA6D5A4DCCC0}" srcOrd="0" destOrd="0" presId="urn:microsoft.com/office/officeart/2005/8/layout/default"/>
    <dgm:cxn modelId="{C7E71D2A-AD60-4AFE-AED5-DFB0C27D90C9}" type="presOf" srcId="{B12B9D1D-CEB1-4B2F-AB25-FB6FB9E6CD1C}" destId="{821D16B4-A175-4861-9ABD-81F6E06FC003}" srcOrd="0" destOrd="0" presId="urn:microsoft.com/office/officeart/2005/8/layout/default"/>
    <dgm:cxn modelId="{8359452B-D728-4813-844B-B875F79513BF}" type="presOf" srcId="{2B5E5934-4EFD-465D-8831-5BA3459FD2E1}" destId="{EAD43947-D38A-4521-BFB6-40587A913D43}" srcOrd="0" destOrd="0" presId="urn:microsoft.com/office/officeart/2005/8/layout/default"/>
    <dgm:cxn modelId="{5F129D82-B95B-4BCD-9C2F-7DEB0911C236}" srcId="{7FDFEEF7-9BCF-49CA-9A81-1603994EAC79}" destId="{1E9001F5-18F6-4127-8C80-B650953E6C19}" srcOrd="4" destOrd="0" parTransId="{14A6D4DA-9DD2-4D74-8237-705124316D40}" sibTransId="{2C9C9349-900C-425E-9675-B336BA51208E}"/>
    <dgm:cxn modelId="{4E20968A-1DC7-402C-9BFA-42A73AB38686}" srcId="{7FDFEEF7-9BCF-49CA-9A81-1603994EAC79}" destId="{B12B9D1D-CEB1-4B2F-AB25-FB6FB9E6CD1C}" srcOrd="1" destOrd="0" parTransId="{2591463A-193A-4F4B-9CA3-061EBB684ABE}" sibTransId="{C2B66142-665C-4E0F-9C12-5D904232F415}"/>
    <dgm:cxn modelId="{57DE2497-CCA7-4068-A2A3-D1886780542D}" srcId="{7FDFEEF7-9BCF-49CA-9A81-1603994EAC79}" destId="{EF6F31E8-DFA5-41D1-B4F7-677B4BECCF20}" srcOrd="2" destOrd="0" parTransId="{0B862B93-356D-4A87-990A-34BD61A346A3}" sibTransId="{D4182C72-18E4-4848-ACB3-C65585A233F4}"/>
    <dgm:cxn modelId="{46B1DED8-FA22-478F-95A8-13A2B38D026F}" type="presOf" srcId="{1E9001F5-18F6-4127-8C80-B650953E6C19}" destId="{2094DF82-76DF-420C-8D09-653CBDAF6D57}" srcOrd="0" destOrd="0" presId="urn:microsoft.com/office/officeart/2005/8/layout/default"/>
    <dgm:cxn modelId="{61F693DF-5308-473E-B4B2-6D374EFA3A72}" srcId="{7FDFEEF7-9BCF-49CA-9A81-1603994EAC79}" destId="{7D2E40AD-79C1-46D3-854D-2A8CDF90D286}" srcOrd="3" destOrd="0" parTransId="{B5ACC83F-2B5C-48C8-B98E-496008FAF725}" sibTransId="{B3802146-B5B4-4144-9C63-01CCCFC75EE4}"/>
    <dgm:cxn modelId="{4558E7DF-E06D-4178-996A-DBA52FDDB5BE}" type="presOf" srcId="{EF6F31E8-DFA5-41D1-B4F7-677B4BECCF20}" destId="{C5971B66-4527-4742-992C-924E0F8747A3}" srcOrd="0" destOrd="0" presId="urn:microsoft.com/office/officeart/2005/8/layout/default"/>
    <dgm:cxn modelId="{736FBEAF-23B7-43CE-99D9-50D7BA765C94}" type="presParOf" srcId="{0DE0FB23-184A-4007-AF92-AA6D5A4DCCC0}" destId="{EAD43947-D38A-4521-BFB6-40587A913D43}" srcOrd="0" destOrd="0" presId="urn:microsoft.com/office/officeart/2005/8/layout/default"/>
    <dgm:cxn modelId="{99A3A650-285B-466F-8C90-54727765F541}" type="presParOf" srcId="{0DE0FB23-184A-4007-AF92-AA6D5A4DCCC0}" destId="{295973C2-AFCD-42CA-86AF-972A1B3E3359}" srcOrd="1" destOrd="0" presId="urn:microsoft.com/office/officeart/2005/8/layout/default"/>
    <dgm:cxn modelId="{C886AEDB-14FA-4F69-BBF1-D9AE11D33C72}" type="presParOf" srcId="{0DE0FB23-184A-4007-AF92-AA6D5A4DCCC0}" destId="{821D16B4-A175-4861-9ABD-81F6E06FC003}" srcOrd="2" destOrd="0" presId="urn:microsoft.com/office/officeart/2005/8/layout/default"/>
    <dgm:cxn modelId="{59FCCA6D-47EC-400A-83F7-B8F639F58BE9}" type="presParOf" srcId="{0DE0FB23-184A-4007-AF92-AA6D5A4DCCC0}" destId="{42881421-3025-4CEA-8546-3DD9E4429D43}" srcOrd="3" destOrd="0" presId="urn:microsoft.com/office/officeart/2005/8/layout/default"/>
    <dgm:cxn modelId="{D1F03743-E6AD-48E7-880F-67FE065F4927}" type="presParOf" srcId="{0DE0FB23-184A-4007-AF92-AA6D5A4DCCC0}" destId="{C5971B66-4527-4742-992C-924E0F8747A3}" srcOrd="4" destOrd="0" presId="urn:microsoft.com/office/officeart/2005/8/layout/default"/>
    <dgm:cxn modelId="{B382FBCC-8469-4C1A-AF30-99CC8027E511}" type="presParOf" srcId="{0DE0FB23-184A-4007-AF92-AA6D5A4DCCC0}" destId="{E1D3954E-206D-4608-AEE4-F0F73AA993D2}" srcOrd="5" destOrd="0" presId="urn:microsoft.com/office/officeart/2005/8/layout/default"/>
    <dgm:cxn modelId="{B062FB46-FA0E-4936-BA65-C1F85C0E960F}" type="presParOf" srcId="{0DE0FB23-184A-4007-AF92-AA6D5A4DCCC0}" destId="{5765AEBF-4B7D-4FEB-BAB6-8F58E76FCAAC}" srcOrd="6" destOrd="0" presId="urn:microsoft.com/office/officeart/2005/8/layout/default"/>
    <dgm:cxn modelId="{6551152B-2F37-4839-AC6A-6F04F50E33B7}" type="presParOf" srcId="{0DE0FB23-184A-4007-AF92-AA6D5A4DCCC0}" destId="{87AA896D-BC41-43FD-ACE4-A51BAB5DEA09}" srcOrd="7" destOrd="0" presId="urn:microsoft.com/office/officeart/2005/8/layout/default"/>
    <dgm:cxn modelId="{A6A54A05-5DD8-472F-8978-DBAB65547A75}" type="presParOf" srcId="{0DE0FB23-184A-4007-AF92-AA6D5A4DCCC0}" destId="{2094DF82-76DF-420C-8D09-653CBDAF6D57}"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776A8FB8-3D87-4E9B-81C7-237A981A311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0BBA544-6421-4948-93F1-92A27F675F0E}">
      <dgm:prSet phldrT="[Text]"/>
      <dgm:spPr/>
      <dgm:t>
        <a:bodyPr/>
        <a:lstStyle/>
        <a:p>
          <a:r>
            <a:rPr lang="en-US" dirty="0"/>
            <a:t>It returns the approximate number of unique non-null values in a group.</a:t>
          </a:r>
        </a:p>
      </dgm:t>
    </dgm:pt>
    <dgm:pt modelId="{CD9970E1-8C4B-494F-821F-C136C6256F51}" type="parTrans" cxnId="{9C403666-7265-469D-B41D-82D2319937AF}">
      <dgm:prSet/>
      <dgm:spPr/>
      <dgm:t>
        <a:bodyPr/>
        <a:lstStyle/>
        <a:p>
          <a:endParaRPr lang="en-US"/>
        </a:p>
      </dgm:t>
    </dgm:pt>
    <dgm:pt modelId="{3E071DAB-0F6E-4A08-BA6C-EF1EC0F0B269}" type="sibTrans" cxnId="{9C403666-7265-469D-B41D-82D2319937AF}">
      <dgm:prSet/>
      <dgm:spPr/>
      <dgm:t>
        <a:bodyPr/>
        <a:lstStyle/>
        <a:p>
          <a:endParaRPr lang="en-US"/>
        </a:p>
      </dgm:t>
    </dgm:pt>
    <dgm:pt modelId="{1CEDC6EB-EF9F-4AE5-B31C-403105BDEEBC}">
      <dgm:prSet phldrT="[Text]"/>
      <dgm:spPr/>
      <dgm:t>
        <a:bodyPr/>
        <a:lstStyle/>
        <a:p>
          <a:r>
            <a:rPr lang="en-US" dirty="0"/>
            <a:t>It is designed to provide aggregations across large data sets where responsiveness is more critical than absolute precision.</a:t>
          </a:r>
        </a:p>
      </dgm:t>
    </dgm:pt>
    <dgm:pt modelId="{CF7596AF-33F7-425A-85DC-1A1C3842F632}" type="parTrans" cxnId="{F6930C2B-9065-444F-A38C-3D41C33A340A}">
      <dgm:prSet/>
      <dgm:spPr/>
      <dgm:t>
        <a:bodyPr/>
        <a:lstStyle/>
        <a:p>
          <a:endParaRPr lang="en-US"/>
        </a:p>
      </dgm:t>
    </dgm:pt>
    <dgm:pt modelId="{234F137C-7F0C-4F56-867C-4C8FEC12ACC3}" type="sibTrans" cxnId="{F6930C2B-9065-444F-A38C-3D41C33A340A}">
      <dgm:prSet/>
      <dgm:spPr/>
      <dgm:t>
        <a:bodyPr/>
        <a:lstStyle/>
        <a:p>
          <a:endParaRPr lang="en-US"/>
        </a:p>
      </dgm:t>
    </dgm:pt>
    <dgm:pt modelId="{2F5A593E-A89A-47F2-953B-0C885ABD07E1}">
      <dgm:prSet phldrT="[Text]"/>
      <dgm:spPr/>
      <dgm:t>
        <a:bodyPr/>
        <a:lstStyle/>
        <a:p>
          <a:r>
            <a:rPr lang="en-US" dirty="0"/>
            <a:t>Its implementation guarantees up to a 2% error rate within a 97% probability.</a:t>
          </a:r>
        </a:p>
      </dgm:t>
    </dgm:pt>
    <dgm:pt modelId="{EFCA32AB-B66B-4078-99C5-BE6D3D84333E}" type="parTrans" cxnId="{A69E7DAF-511A-4604-BA41-5F2358DA3512}">
      <dgm:prSet/>
      <dgm:spPr/>
      <dgm:t>
        <a:bodyPr/>
        <a:lstStyle/>
        <a:p>
          <a:endParaRPr lang="en-US"/>
        </a:p>
      </dgm:t>
    </dgm:pt>
    <dgm:pt modelId="{C8773E58-6946-4C1E-99C5-34336AB25B97}" type="sibTrans" cxnId="{A69E7DAF-511A-4604-BA41-5F2358DA3512}">
      <dgm:prSet/>
      <dgm:spPr/>
      <dgm:t>
        <a:bodyPr/>
        <a:lstStyle/>
        <a:p>
          <a:endParaRPr lang="en-US"/>
        </a:p>
      </dgm:t>
    </dgm:pt>
    <dgm:pt modelId="{C1FAEC55-B25A-4BAB-BADE-2C656E8DBFA9}">
      <dgm:prSet phldrT="[Text]"/>
      <dgm:spPr/>
      <dgm:t>
        <a:bodyPr/>
        <a:lstStyle/>
        <a:p>
          <a:r>
            <a:rPr lang="en-US" dirty="0"/>
            <a:t>requires less memory than an exhaustive COUNT DISTINCT operation so it is less likely to spill memory to disk compared to COUNT DISTINCT. </a:t>
          </a:r>
        </a:p>
      </dgm:t>
    </dgm:pt>
    <dgm:pt modelId="{E013B577-D224-43C0-B17B-1E9F293D6085}" type="parTrans" cxnId="{5E7F4E03-DC38-4A01-8759-C717C2B2F362}">
      <dgm:prSet/>
      <dgm:spPr/>
      <dgm:t>
        <a:bodyPr/>
        <a:lstStyle/>
        <a:p>
          <a:endParaRPr lang="en-US"/>
        </a:p>
      </dgm:t>
    </dgm:pt>
    <dgm:pt modelId="{55261351-D477-4394-B1DE-DCFCC1572268}" type="sibTrans" cxnId="{5E7F4E03-DC38-4A01-8759-C717C2B2F362}">
      <dgm:prSet/>
      <dgm:spPr/>
      <dgm:t>
        <a:bodyPr/>
        <a:lstStyle/>
        <a:p>
          <a:endParaRPr lang="en-US"/>
        </a:p>
      </dgm:t>
    </dgm:pt>
    <dgm:pt modelId="{D816A5BE-A29C-4ED2-BE03-A3AE5C6F1437}" type="pres">
      <dgm:prSet presAssocID="{776A8FB8-3D87-4E9B-81C7-237A981A3116}" presName="diagram" presStyleCnt="0">
        <dgm:presLayoutVars>
          <dgm:dir/>
          <dgm:resizeHandles val="exact"/>
        </dgm:presLayoutVars>
      </dgm:prSet>
      <dgm:spPr/>
    </dgm:pt>
    <dgm:pt modelId="{DC61A5D6-AFF4-4C99-AA5C-4E167EFBE90B}" type="pres">
      <dgm:prSet presAssocID="{D0BBA544-6421-4948-93F1-92A27F675F0E}" presName="node" presStyleLbl="node1" presStyleIdx="0" presStyleCnt="4">
        <dgm:presLayoutVars>
          <dgm:bulletEnabled val="1"/>
        </dgm:presLayoutVars>
      </dgm:prSet>
      <dgm:spPr/>
    </dgm:pt>
    <dgm:pt modelId="{FDD29061-6975-42A7-911E-463669A2FCB5}" type="pres">
      <dgm:prSet presAssocID="{3E071DAB-0F6E-4A08-BA6C-EF1EC0F0B269}" presName="sibTrans" presStyleCnt="0"/>
      <dgm:spPr/>
    </dgm:pt>
    <dgm:pt modelId="{0B4A8F5D-69E7-40FD-9BAF-CAC734F828AA}" type="pres">
      <dgm:prSet presAssocID="{1CEDC6EB-EF9F-4AE5-B31C-403105BDEEBC}" presName="node" presStyleLbl="node1" presStyleIdx="1" presStyleCnt="4">
        <dgm:presLayoutVars>
          <dgm:bulletEnabled val="1"/>
        </dgm:presLayoutVars>
      </dgm:prSet>
      <dgm:spPr/>
    </dgm:pt>
    <dgm:pt modelId="{EBC9E832-3CF8-4861-B01B-43C6BAB71182}" type="pres">
      <dgm:prSet presAssocID="{234F137C-7F0C-4F56-867C-4C8FEC12ACC3}" presName="sibTrans" presStyleCnt="0"/>
      <dgm:spPr/>
    </dgm:pt>
    <dgm:pt modelId="{D241CA5A-21DB-4320-8434-76002B8599BB}" type="pres">
      <dgm:prSet presAssocID="{2F5A593E-A89A-47F2-953B-0C885ABD07E1}" presName="node" presStyleLbl="node1" presStyleIdx="2" presStyleCnt="4">
        <dgm:presLayoutVars>
          <dgm:bulletEnabled val="1"/>
        </dgm:presLayoutVars>
      </dgm:prSet>
      <dgm:spPr/>
    </dgm:pt>
    <dgm:pt modelId="{7A23F2E5-F754-483F-A534-1A1B089EB6CE}" type="pres">
      <dgm:prSet presAssocID="{C8773E58-6946-4C1E-99C5-34336AB25B97}" presName="sibTrans" presStyleCnt="0"/>
      <dgm:spPr/>
    </dgm:pt>
    <dgm:pt modelId="{2CEC3751-8FCF-4794-BEC1-0DEED48CB8E5}" type="pres">
      <dgm:prSet presAssocID="{C1FAEC55-B25A-4BAB-BADE-2C656E8DBFA9}" presName="node" presStyleLbl="node1" presStyleIdx="3" presStyleCnt="4">
        <dgm:presLayoutVars>
          <dgm:bulletEnabled val="1"/>
        </dgm:presLayoutVars>
      </dgm:prSet>
      <dgm:spPr/>
    </dgm:pt>
  </dgm:ptLst>
  <dgm:cxnLst>
    <dgm:cxn modelId="{5E7F4E03-DC38-4A01-8759-C717C2B2F362}" srcId="{776A8FB8-3D87-4E9B-81C7-237A981A3116}" destId="{C1FAEC55-B25A-4BAB-BADE-2C656E8DBFA9}" srcOrd="3" destOrd="0" parTransId="{E013B577-D224-43C0-B17B-1E9F293D6085}" sibTransId="{55261351-D477-4394-B1DE-DCFCC1572268}"/>
    <dgm:cxn modelId="{F6930C2B-9065-444F-A38C-3D41C33A340A}" srcId="{776A8FB8-3D87-4E9B-81C7-237A981A3116}" destId="{1CEDC6EB-EF9F-4AE5-B31C-403105BDEEBC}" srcOrd="1" destOrd="0" parTransId="{CF7596AF-33F7-425A-85DC-1A1C3842F632}" sibTransId="{234F137C-7F0C-4F56-867C-4C8FEC12ACC3}"/>
    <dgm:cxn modelId="{2FE18B2E-F7D2-4696-8AB5-B0755BFD807B}" type="presOf" srcId="{1CEDC6EB-EF9F-4AE5-B31C-403105BDEEBC}" destId="{0B4A8F5D-69E7-40FD-9BAF-CAC734F828AA}" srcOrd="0" destOrd="0" presId="urn:microsoft.com/office/officeart/2005/8/layout/default"/>
    <dgm:cxn modelId="{9C403666-7265-469D-B41D-82D2319937AF}" srcId="{776A8FB8-3D87-4E9B-81C7-237A981A3116}" destId="{D0BBA544-6421-4948-93F1-92A27F675F0E}" srcOrd="0" destOrd="0" parTransId="{CD9970E1-8C4B-494F-821F-C136C6256F51}" sibTransId="{3E071DAB-0F6E-4A08-BA6C-EF1EC0F0B269}"/>
    <dgm:cxn modelId="{56CA494D-6D35-4C9B-91A8-4B869C2D1B0A}" type="presOf" srcId="{2F5A593E-A89A-47F2-953B-0C885ABD07E1}" destId="{D241CA5A-21DB-4320-8434-76002B8599BB}" srcOrd="0" destOrd="0" presId="urn:microsoft.com/office/officeart/2005/8/layout/default"/>
    <dgm:cxn modelId="{869857A0-A120-4520-8114-DE05160C6ECF}" type="presOf" srcId="{C1FAEC55-B25A-4BAB-BADE-2C656E8DBFA9}" destId="{2CEC3751-8FCF-4794-BEC1-0DEED48CB8E5}" srcOrd="0" destOrd="0" presId="urn:microsoft.com/office/officeart/2005/8/layout/default"/>
    <dgm:cxn modelId="{A69E7DAF-511A-4604-BA41-5F2358DA3512}" srcId="{776A8FB8-3D87-4E9B-81C7-237A981A3116}" destId="{2F5A593E-A89A-47F2-953B-0C885ABD07E1}" srcOrd="2" destOrd="0" parTransId="{EFCA32AB-B66B-4078-99C5-BE6D3D84333E}" sibTransId="{C8773E58-6946-4C1E-99C5-34336AB25B97}"/>
    <dgm:cxn modelId="{3A37DDB8-A369-4A77-8351-592382302ACE}" type="presOf" srcId="{D0BBA544-6421-4948-93F1-92A27F675F0E}" destId="{DC61A5D6-AFF4-4C99-AA5C-4E167EFBE90B}" srcOrd="0" destOrd="0" presId="urn:microsoft.com/office/officeart/2005/8/layout/default"/>
    <dgm:cxn modelId="{4A6FF9F1-FADA-431C-8244-C62231967AA1}" type="presOf" srcId="{776A8FB8-3D87-4E9B-81C7-237A981A3116}" destId="{D816A5BE-A29C-4ED2-BE03-A3AE5C6F1437}" srcOrd="0" destOrd="0" presId="urn:microsoft.com/office/officeart/2005/8/layout/default"/>
    <dgm:cxn modelId="{5C575690-60C3-4D06-9D64-515F9E603D9A}" type="presParOf" srcId="{D816A5BE-A29C-4ED2-BE03-A3AE5C6F1437}" destId="{DC61A5D6-AFF4-4C99-AA5C-4E167EFBE90B}" srcOrd="0" destOrd="0" presId="urn:microsoft.com/office/officeart/2005/8/layout/default"/>
    <dgm:cxn modelId="{6183EAC6-57E2-4F9F-9CF6-78AE140571AC}" type="presParOf" srcId="{D816A5BE-A29C-4ED2-BE03-A3AE5C6F1437}" destId="{FDD29061-6975-42A7-911E-463669A2FCB5}" srcOrd="1" destOrd="0" presId="urn:microsoft.com/office/officeart/2005/8/layout/default"/>
    <dgm:cxn modelId="{F9A44A53-7606-44D7-8855-FC56356D015D}" type="presParOf" srcId="{D816A5BE-A29C-4ED2-BE03-A3AE5C6F1437}" destId="{0B4A8F5D-69E7-40FD-9BAF-CAC734F828AA}" srcOrd="2" destOrd="0" presId="urn:microsoft.com/office/officeart/2005/8/layout/default"/>
    <dgm:cxn modelId="{DF843670-1662-4957-8C01-4A3A07C30D53}" type="presParOf" srcId="{D816A5BE-A29C-4ED2-BE03-A3AE5C6F1437}" destId="{EBC9E832-3CF8-4861-B01B-43C6BAB71182}" srcOrd="3" destOrd="0" presId="urn:microsoft.com/office/officeart/2005/8/layout/default"/>
    <dgm:cxn modelId="{BE9D47CF-7EF1-461E-AD0F-09AC0B15AABE}" type="presParOf" srcId="{D816A5BE-A29C-4ED2-BE03-A3AE5C6F1437}" destId="{D241CA5A-21DB-4320-8434-76002B8599BB}" srcOrd="4" destOrd="0" presId="urn:microsoft.com/office/officeart/2005/8/layout/default"/>
    <dgm:cxn modelId="{94200C76-E93D-4CEF-BE72-C2A547F65E44}" type="presParOf" srcId="{D816A5BE-A29C-4ED2-BE03-A3AE5C6F1437}" destId="{7A23F2E5-F754-483F-A534-1A1B089EB6CE}" srcOrd="5" destOrd="0" presId="urn:microsoft.com/office/officeart/2005/8/layout/default"/>
    <dgm:cxn modelId="{3B2CDA99-B64F-47A3-AD4F-713453FB81F6}" type="presParOf" srcId="{D816A5BE-A29C-4ED2-BE03-A3AE5C6F1437}" destId="{2CEC3751-8FCF-4794-BEC1-0DEED48CB8E5}"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9058F1BB-B91A-4F9C-B394-892E391074D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1B7BD159-0970-4902-822F-F2DA3CF76E55}">
      <dgm:prSet/>
      <dgm:spPr/>
      <dgm:t>
        <a:bodyPr/>
        <a:lstStyle/>
        <a:p>
          <a:r>
            <a:rPr lang="en-US" dirty="0"/>
            <a:t>CPU consumption Reduced</a:t>
          </a:r>
        </a:p>
      </dgm:t>
    </dgm:pt>
    <dgm:pt modelId="{49544E8B-1823-4FBB-BEF1-CECDB2051EDB}" type="parTrans" cxnId="{89DEB893-7575-443B-B0D2-A6600C4536F9}">
      <dgm:prSet/>
      <dgm:spPr/>
      <dgm:t>
        <a:bodyPr/>
        <a:lstStyle/>
        <a:p>
          <a:endParaRPr lang="en-US"/>
        </a:p>
      </dgm:t>
    </dgm:pt>
    <dgm:pt modelId="{4AED7768-4723-4A31-AEE0-5D126759EB80}" type="sibTrans" cxnId="{89DEB893-7575-443B-B0D2-A6600C4536F9}">
      <dgm:prSet/>
      <dgm:spPr/>
      <dgm:t>
        <a:bodyPr/>
        <a:lstStyle/>
        <a:p>
          <a:endParaRPr lang="en-US"/>
        </a:p>
      </dgm:t>
    </dgm:pt>
    <dgm:pt modelId="{D4419D5C-FC88-4CC8-A84B-46930EB4A53C}">
      <dgm:prSet/>
      <dgm:spPr/>
      <dgm:t>
        <a:bodyPr/>
        <a:lstStyle/>
        <a:p>
          <a:r>
            <a:rPr lang="en-US" dirty="0"/>
            <a:t>No gain in I/O consumption unless data is already in cache</a:t>
          </a:r>
        </a:p>
      </dgm:t>
    </dgm:pt>
    <dgm:pt modelId="{93F37F4C-6C02-418F-9631-440C07B4F436}" type="parTrans" cxnId="{569AA304-862C-40E9-939E-CD53748C8DD8}">
      <dgm:prSet/>
      <dgm:spPr/>
      <dgm:t>
        <a:bodyPr/>
        <a:lstStyle/>
        <a:p>
          <a:endParaRPr lang="en-US"/>
        </a:p>
      </dgm:t>
    </dgm:pt>
    <dgm:pt modelId="{073E6794-EB7C-4756-A893-43FB9346256C}" type="sibTrans" cxnId="{569AA304-862C-40E9-939E-CD53748C8DD8}">
      <dgm:prSet/>
      <dgm:spPr/>
      <dgm:t>
        <a:bodyPr/>
        <a:lstStyle/>
        <a:p>
          <a:endParaRPr lang="en-US"/>
        </a:p>
      </dgm:t>
    </dgm:pt>
    <dgm:pt modelId="{8B4E1B14-82AF-4B0F-8C0F-B7CC9FBBA246}">
      <dgm:prSet/>
      <dgm:spPr/>
      <dgm:t>
        <a:bodyPr/>
        <a:lstStyle/>
        <a:p>
          <a:r>
            <a:rPr lang="en-US" dirty="0"/>
            <a:t>Performance improvement only possible if enough memory to cache all data</a:t>
          </a:r>
        </a:p>
      </dgm:t>
    </dgm:pt>
    <dgm:pt modelId="{A5EE427D-AF6C-4753-808A-1572540BA4EA}" type="parTrans" cxnId="{687947C6-E8C4-4555-8735-139A0F522191}">
      <dgm:prSet/>
      <dgm:spPr/>
      <dgm:t>
        <a:bodyPr/>
        <a:lstStyle/>
        <a:p>
          <a:endParaRPr lang="en-US"/>
        </a:p>
      </dgm:t>
    </dgm:pt>
    <dgm:pt modelId="{9164970D-F8A2-4D24-A097-1CA02F09EEC3}" type="sibTrans" cxnId="{687947C6-E8C4-4555-8735-139A0F522191}">
      <dgm:prSet/>
      <dgm:spPr/>
      <dgm:t>
        <a:bodyPr/>
        <a:lstStyle/>
        <a:p>
          <a:endParaRPr lang="en-US"/>
        </a:p>
      </dgm:t>
    </dgm:pt>
    <dgm:pt modelId="{D7283656-673F-4962-A34A-8E4E4C57A117}" type="pres">
      <dgm:prSet presAssocID="{9058F1BB-B91A-4F9C-B394-892E391074DD}" presName="diagram" presStyleCnt="0">
        <dgm:presLayoutVars>
          <dgm:dir/>
          <dgm:resizeHandles val="exact"/>
        </dgm:presLayoutVars>
      </dgm:prSet>
      <dgm:spPr/>
    </dgm:pt>
    <dgm:pt modelId="{EFBA798F-4F79-4105-B2B8-86BFA3F3C273}" type="pres">
      <dgm:prSet presAssocID="{1B7BD159-0970-4902-822F-F2DA3CF76E55}" presName="node" presStyleLbl="node1" presStyleIdx="0" presStyleCnt="3">
        <dgm:presLayoutVars>
          <dgm:bulletEnabled val="1"/>
        </dgm:presLayoutVars>
      </dgm:prSet>
      <dgm:spPr/>
    </dgm:pt>
    <dgm:pt modelId="{C1B12DB9-C68D-4C32-A506-B052A35D6B07}" type="pres">
      <dgm:prSet presAssocID="{4AED7768-4723-4A31-AEE0-5D126759EB80}" presName="sibTrans" presStyleCnt="0"/>
      <dgm:spPr/>
    </dgm:pt>
    <dgm:pt modelId="{31DABB12-131B-4C9F-B33F-A31E84797006}" type="pres">
      <dgm:prSet presAssocID="{D4419D5C-FC88-4CC8-A84B-46930EB4A53C}" presName="node" presStyleLbl="node1" presStyleIdx="1" presStyleCnt="3">
        <dgm:presLayoutVars>
          <dgm:bulletEnabled val="1"/>
        </dgm:presLayoutVars>
      </dgm:prSet>
      <dgm:spPr/>
    </dgm:pt>
    <dgm:pt modelId="{C3A919DB-6166-4498-AB07-EC7F8E46D5FE}" type="pres">
      <dgm:prSet presAssocID="{073E6794-EB7C-4756-A893-43FB9346256C}" presName="sibTrans" presStyleCnt="0"/>
      <dgm:spPr/>
    </dgm:pt>
    <dgm:pt modelId="{A3F97EEB-A06A-4880-A0E6-CDFF05C4FCC2}" type="pres">
      <dgm:prSet presAssocID="{8B4E1B14-82AF-4B0F-8C0F-B7CC9FBBA246}" presName="node" presStyleLbl="node1" presStyleIdx="2" presStyleCnt="3">
        <dgm:presLayoutVars>
          <dgm:bulletEnabled val="1"/>
        </dgm:presLayoutVars>
      </dgm:prSet>
      <dgm:spPr/>
    </dgm:pt>
  </dgm:ptLst>
  <dgm:cxnLst>
    <dgm:cxn modelId="{569AA304-862C-40E9-939E-CD53748C8DD8}" srcId="{9058F1BB-B91A-4F9C-B394-892E391074DD}" destId="{D4419D5C-FC88-4CC8-A84B-46930EB4A53C}" srcOrd="1" destOrd="0" parTransId="{93F37F4C-6C02-418F-9631-440C07B4F436}" sibTransId="{073E6794-EB7C-4756-A893-43FB9346256C}"/>
    <dgm:cxn modelId="{4EA46118-67F9-4FB5-AEED-375E7079D31C}" type="presOf" srcId="{1B7BD159-0970-4902-822F-F2DA3CF76E55}" destId="{EFBA798F-4F79-4105-B2B8-86BFA3F3C273}" srcOrd="0" destOrd="0" presId="urn:microsoft.com/office/officeart/2005/8/layout/default"/>
    <dgm:cxn modelId="{DE99F56C-B82F-49DA-822A-9BA874F9A2E5}" type="presOf" srcId="{D4419D5C-FC88-4CC8-A84B-46930EB4A53C}" destId="{31DABB12-131B-4C9F-B33F-A31E84797006}" srcOrd="0" destOrd="0" presId="urn:microsoft.com/office/officeart/2005/8/layout/default"/>
    <dgm:cxn modelId="{89DEB893-7575-443B-B0D2-A6600C4536F9}" srcId="{9058F1BB-B91A-4F9C-B394-892E391074DD}" destId="{1B7BD159-0970-4902-822F-F2DA3CF76E55}" srcOrd="0" destOrd="0" parTransId="{49544E8B-1823-4FBB-BEF1-CECDB2051EDB}" sibTransId="{4AED7768-4723-4A31-AEE0-5D126759EB80}"/>
    <dgm:cxn modelId="{DCDEF7BE-37BF-435A-9C42-2CC0C9C94C9C}" type="presOf" srcId="{8B4E1B14-82AF-4B0F-8C0F-B7CC9FBBA246}" destId="{A3F97EEB-A06A-4880-A0E6-CDFF05C4FCC2}" srcOrd="0" destOrd="0" presId="urn:microsoft.com/office/officeart/2005/8/layout/default"/>
    <dgm:cxn modelId="{687947C6-E8C4-4555-8735-139A0F522191}" srcId="{9058F1BB-B91A-4F9C-B394-892E391074DD}" destId="{8B4E1B14-82AF-4B0F-8C0F-B7CC9FBBA246}" srcOrd="2" destOrd="0" parTransId="{A5EE427D-AF6C-4753-808A-1572540BA4EA}" sibTransId="{9164970D-F8A2-4D24-A097-1CA02F09EEC3}"/>
    <dgm:cxn modelId="{F21A9EF9-CC36-42F9-9BAC-9071E4BE5E6E}" type="presOf" srcId="{9058F1BB-B91A-4F9C-B394-892E391074DD}" destId="{D7283656-673F-4962-A34A-8E4E4C57A117}" srcOrd="0" destOrd="0" presId="urn:microsoft.com/office/officeart/2005/8/layout/default"/>
    <dgm:cxn modelId="{B35094AE-04FC-4D13-AC32-11AC6B86AEAB}" type="presParOf" srcId="{D7283656-673F-4962-A34A-8E4E4C57A117}" destId="{EFBA798F-4F79-4105-B2B8-86BFA3F3C273}" srcOrd="0" destOrd="0" presId="urn:microsoft.com/office/officeart/2005/8/layout/default"/>
    <dgm:cxn modelId="{537102D5-6266-4C37-AF29-E21452AD4E52}" type="presParOf" srcId="{D7283656-673F-4962-A34A-8E4E4C57A117}" destId="{C1B12DB9-C68D-4C32-A506-B052A35D6B07}" srcOrd="1" destOrd="0" presId="urn:microsoft.com/office/officeart/2005/8/layout/default"/>
    <dgm:cxn modelId="{6C7FBB96-C2B6-47FB-B0DB-746363648D27}" type="presParOf" srcId="{D7283656-673F-4962-A34A-8E4E4C57A117}" destId="{31DABB12-131B-4C9F-B33F-A31E84797006}" srcOrd="2" destOrd="0" presId="urn:microsoft.com/office/officeart/2005/8/layout/default"/>
    <dgm:cxn modelId="{05A21D48-E403-43B0-9DA9-3CAAAAD7E3A6}" type="presParOf" srcId="{D7283656-673F-4962-A34A-8E4E4C57A117}" destId="{C3A919DB-6166-4498-AB07-EC7F8E46D5FE}" srcOrd="3" destOrd="0" presId="urn:microsoft.com/office/officeart/2005/8/layout/default"/>
    <dgm:cxn modelId="{3F036387-CE4D-44F3-A84D-8512E85454E2}" type="presParOf" srcId="{D7283656-673F-4962-A34A-8E4E4C57A117}" destId="{A3F97EEB-A06A-4880-A0E6-CDFF05C4FCC2}"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540920B-2C4F-43B4-89AD-64EEC6019E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946E55A-32BE-49E8-B556-ED036734050F}">
      <dgm:prSet custT="1"/>
      <dgm:spPr/>
      <dgm:t>
        <a:bodyPr/>
        <a:lstStyle/>
        <a:p>
          <a:r>
            <a:rPr lang="en-US" sz="2000" dirty="0"/>
            <a:t>Constant Folding: Expressions with constant values are reduced</a:t>
          </a:r>
        </a:p>
      </dgm:t>
    </dgm:pt>
    <dgm:pt modelId="{EA755BDB-65F6-4BFF-8D2D-9EB7DD41FF8F}" type="parTrans" cxnId="{329B2D8D-9983-4F7F-804F-6A886C19DDA2}">
      <dgm:prSet/>
      <dgm:spPr/>
      <dgm:t>
        <a:bodyPr/>
        <a:lstStyle/>
        <a:p>
          <a:endParaRPr lang="en-US"/>
        </a:p>
      </dgm:t>
    </dgm:pt>
    <dgm:pt modelId="{4FFCA6CC-1E83-4DF3-9B27-D7CDE4CD4CC7}" type="sibTrans" cxnId="{329B2D8D-9983-4F7F-804F-6A886C19DDA2}">
      <dgm:prSet/>
      <dgm:spPr/>
      <dgm:t>
        <a:bodyPr/>
        <a:lstStyle/>
        <a:p>
          <a:endParaRPr lang="en-US"/>
        </a:p>
      </dgm:t>
    </dgm:pt>
    <dgm:pt modelId="{3964F9BA-4FF7-40BE-8120-77511C7AF0BF}">
      <dgm:prSet custT="1"/>
      <dgm:spPr/>
      <dgm:t>
        <a:bodyPr/>
        <a:lstStyle/>
        <a:p>
          <a:r>
            <a:rPr lang="en-US" sz="2000" b="1" dirty="0"/>
            <a:t>Quantity = 2 + 3 </a:t>
          </a:r>
          <a:r>
            <a:rPr lang="en-US" sz="2000" dirty="0"/>
            <a:t>becomes </a:t>
          </a:r>
          <a:r>
            <a:rPr lang="en-US" sz="2000" b="1" dirty="0"/>
            <a:t>Quantity =  5</a:t>
          </a:r>
          <a:endParaRPr lang="en-US" sz="2000" dirty="0"/>
        </a:p>
      </dgm:t>
    </dgm:pt>
    <dgm:pt modelId="{17F806FC-E47D-4C25-8BAA-12601E84478E}" type="parTrans" cxnId="{B6B22C22-4C47-4ACC-927D-7868A0BE8D14}">
      <dgm:prSet/>
      <dgm:spPr/>
      <dgm:t>
        <a:bodyPr/>
        <a:lstStyle/>
        <a:p>
          <a:endParaRPr lang="en-US"/>
        </a:p>
      </dgm:t>
    </dgm:pt>
    <dgm:pt modelId="{E6DECC28-ADCA-46D0-AB34-D401A8CAA11B}" type="sibTrans" cxnId="{B6B22C22-4C47-4ACC-927D-7868A0BE8D14}">
      <dgm:prSet/>
      <dgm:spPr/>
      <dgm:t>
        <a:bodyPr/>
        <a:lstStyle/>
        <a:p>
          <a:endParaRPr lang="en-US"/>
        </a:p>
      </dgm:t>
    </dgm:pt>
    <dgm:pt modelId="{871DBBC0-5C02-42CD-9E80-91D0DE976C8E}">
      <dgm:prSet custT="1"/>
      <dgm:spPr/>
      <dgm:t>
        <a:bodyPr/>
        <a:lstStyle/>
        <a:p>
          <a:r>
            <a:rPr lang="en-US" sz="2000" b="1" dirty="0"/>
            <a:t>10 &lt; 20 </a:t>
          </a:r>
          <a:r>
            <a:rPr lang="en-US" sz="2000" dirty="0"/>
            <a:t>becomes </a:t>
          </a:r>
          <a:r>
            <a:rPr lang="en-US" sz="2000" b="1" dirty="0"/>
            <a:t>True </a:t>
          </a:r>
          <a:endParaRPr lang="en-US" sz="2000" dirty="0"/>
        </a:p>
      </dgm:t>
    </dgm:pt>
    <dgm:pt modelId="{5D1DF68D-ECF1-435B-B687-3E2A5E695C2C}" type="parTrans" cxnId="{0C7F89D9-9D00-4EDF-8BA7-A27752D7AD7E}">
      <dgm:prSet/>
      <dgm:spPr/>
      <dgm:t>
        <a:bodyPr/>
        <a:lstStyle/>
        <a:p>
          <a:endParaRPr lang="en-US"/>
        </a:p>
      </dgm:t>
    </dgm:pt>
    <dgm:pt modelId="{AAABE9F4-B57C-45B3-BDFA-761691D68588}" type="sibTrans" cxnId="{0C7F89D9-9D00-4EDF-8BA7-A27752D7AD7E}">
      <dgm:prSet/>
      <dgm:spPr/>
      <dgm:t>
        <a:bodyPr/>
        <a:lstStyle/>
        <a:p>
          <a:endParaRPr lang="en-US"/>
        </a:p>
      </dgm:t>
    </dgm:pt>
    <dgm:pt modelId="{76B3B042-5773-4AF0-A342-03BD63583AE1}">
      <dgm:prSet custT="1"/>
      <dgm:spPr/>
      <dgm:t>
        <a:bodyPr/>
        <a:lstStyle/>
        <a:p>
          <a:r>
            <a:rPr lang="en-US" sz="2000" dirty="0"/>
            <a:t>Contradiction Detection: Removes criteria that doesn’t match table constraints</a:t>
          </a:r>
        </a:p>
      </dgm:t>
    </dgm:pt>
    <dgm:pt modelId="{A36F6669-AD87-46CE-9AB1-E58B8B67CE26}" type="parTrans" cxnId="{BC5865D9-28E2-4855-A1F5-28EF2B6A834E}">
      <dgm:prSet/>
      <dgm:spPr/>
      <dgm:t>
        <a:bodyPr/>
        <a:lstStyle/>
        <a:p>
          <a:endParaRPr lang="en-US"/>
        </a:p>
      </dgm:t>
    </dgm:pt>
    <dgm:pt modelId="{0EBFAFB6-67BA-4D31-A1F8-D53B5916C74B}" type="sibTrans" cxnId="{BC5865D9-28E2-4855-A1F5-28EF2B6A834E}">
      <dgm:prSet/>
      <dgm:spPr/>
      <dgm:t>
        <a:bodyPr/>
        <a:lstStyle/>
        <a:p>
          <a:endParaRPr lang="en-US"/>
        </a:p>
      </dgm:t>
    </dgm:pt>
    <dgm:pt modelId="{076924B9-43A7-4A09-A0A0-51577E02992A}">
      <dgm:prSet custT="1"/>
      <dgm:spPr/>
      <dgm:t>
        <a:bodyPr/>
        <a:lstStyle/>
        <a:p>
          <a:r>
            <a:rPr lang="en-US" sz="2000" b="1" dirty="0"/>
            <a:t>Constraint: </a:t>
          </a:r>
          <a:r>
            <a:rPr lang="en-US" sz="2000" dirty="0"/>
            <a:t>Age &gt; 18</a:t>
          </a:r>
        </a:p>
      </dgm:t>
    </dgm:pt>
    <dgm:pt modelId="{D89B5B6B-BBB9-4D9B-AF87-249D01D07956}" type="parTrans" cxnId="{A0584668-E5D7-46AA-99CE-52F59A921508}">
      <dgm:prSet/>
      <dgm:spPr/>
      <dgm:t>
        <a:bodyPr/>
        <a:lstStyle/>
        <a:p>
          <a:endParaRPr lang="en-US"/>
        </a:p>
      </dgm:t>
    </dgm:pt>
    <dgm:pt modelId="{6FDEDA38-CC46-422E-A22D-E692CF57B8D2}" type="sibTrans" cxnId="{A0584668-E5D7-46AA-99CE-52F59A921508}">
      <dgm:prSet/>
      <dgm:spPr/>
      <dgm:t>
        <a:bodyPr/>
        <a:lstStyle/>
        <a:p>
          <a:endParaRPr lang="en-US"/>
        </a:p>
      </dgm:t>
    </dgm:pt>
    <dgm:pt modelId="{637A78A2-5937-4FFB-9D4D-653846F4F401}">
      <dgm:prSet custT="1"/>
      <dgm:spPr/>
      <dgm:t>
        <a:bodyPr/>
        <a:lstStyle/>
        <a:p>
          <a:r>
            <a:rPr lang="en-US" sz="2000" b="1" dirty="0"/>
            <a:t>Contradiction: </a:t>
          </a:r>
          <a:r>
            <a:rPr lang="en-US" sz="2000" dirty="0"/>
            <a:t>WHERE Age &lt; 18</a:t>
          </a:r>
        </a:p>
      </dgm:t>
    </dgm:pt>
    <dgm:pt modelId="{326A3761-38CF-430A-823F-835DB6D9D681}" type="parTrans" cxnId="{7833CA04-16BB-46D1-8B5F-259F1602A19F}">
      <dgm:prSet/>
      <dgm:spPr/>
      <dgm:t>
        <a:bodyPr/>
        <a:lstStyle/>
        <a:p>
          <a:endParaRPr lang="en-US"/>
        </a:p>
      </dgm:t>
    </dgm:pt>
    <dgm:pt modelId="{D9BCB6D1-8F0A-4413-806C-CF398451F3E3}" type="sibTrans" cxnId="{7833CA04-16BB-46D1-8B5F-259F1602A19F}">
      <dgm:prSet/>
      <dgm:spPr/>
      <dgm:t>
        <a:bodyPr/>
        <a:lstStyle/>
        <a:p>
          <a:endParaRPr lang="en-US"/>
        </a:p>
      </dgm:t>
    </dgm:pt>
    <dgm:pt modelId="{A9D25BD0-BE09-4345-BADE-D4F2B24CCE15}">
      <dgm:prSet custT="1"/>
      <dgm:spPr/>
      <dgm:t>
        <a:bodyPr/>
        <a:lstStyle/>
        <a:p>
          <a:r>
            <a:rPr lang="en-US" sz="2000" dirty="0"/>
            <a:t>Domain Simplification: Reduces complex ranges to simple ranges</a:t>
          </a:r>
        </a:p>
      </dgm:t>
    </dgm:pt>
    <dgm:pt modelId="{4DD442C8-D1CC-4724-974D-833E6852A84E}" type="parTrans" cxnId="{E4C4C425-C11C-4398-900F-D51AA5D17E08}">
      <dgm:prSet/>
      <dgm:spPr/>
      <dgm:t>
        <a:bodyPr/>
        <a:lstStyle/>
        <a:p>
          <a:endParaRPr lang="en-US"/>
        </a:p>
      </dgm:t>
    </dgm:pt>
    <dgm:pt modelId="{AEFA25C7-5D27-45F1-9593-A65F3B64ADB9}" type="sibTrans" cxnId="{E4C4C425-C11C-4398-900F-D51AA5D17E08}">
      <dgm:prSet/>
      <dgm:spPr/>
      <dgm:t>
        <a:bodyPr/>
        <a:lstStyle/>
        <a:p>
          <a:endParaRPr lang="en-US"/>
        </a:p>
      </dgm:t>
    </dgm:pt>
    <dgm:pt modelId="{7F438570-B1D3-4200-A192-AF8BDAD44F69}">
      <dgm:prSet custT="1"/>
      <dgm:spPr/>
      <dgm:t>
        <a:bodyPr/>
        <a:lstStyle/>
        <a:p>
          <a:r>
            <a:rPr lang="en-US" sz="2000" b="1" dirty="0"/>
            <a:t>Complex range: </a:t>
          </a:r>
          <a:r>
            <a:rPr lang="en-US" sz="2000" dirty="0"/>
            <a:t>ID &gt; 10 and ID &lt; 20 or ID &gt; 30 and &lt; 50</a:t>
          </a:r>
        </a:p>
      </dgm:t>
    </dgm:pt>
    <dgm:pt modelId="{1D0A2C0D-ADCD-45A3-AE3A-164C719F0922}" type="parTrans" cxnId="{06A7372E-6D04-4029-B30D-09E0C0497742}">
      <dgm:prSet/>
      <dgm:spPr/>
      <dgm:t>
        <a:bodyPr/>
        <a:lstStyle/>
        <a:p>
          <a:endParaRPr lang="en-US"/>
        </a:p>
      </dgm:t>
    </dgm:pt>
    <dgm:pt modelId="{2A337360-18E4-4101-9C2E-D9303CF8752A}" type="sibTrans" cxnId="{06A7372E-6D04-4029-B30D-09E0C0497742}">
      <dgm:prSet/>
      <dgm:spPr/>
      <dgm:t>
        <a:bodyPr/>
        <a:lstStyle/>
        <a:p>
          <a:endParaRPr lang="en-US"/>
        </a:p>
      </dgm:t>
    </dgm:pt>
    <dgm:pt modelId="{4D6F902A-E4D3-48AC-87E4-5E2A16685C7B}">
      <dgm:prSet custT="1"/>
      <dgm:spPr/>
      <dgm:t>
        <a:bodyPr/>
        <a:lstStyle/>
        <a:p>
          <a:r>
            <a:rPr lang="en-US" sz="2000" b="1" dirty="0"/>
            <a:t>Simplified range: </a:t>
          </a:r>
          <a:r>
            <a:rPr lang="en-US" sz="2000" dirty="0"/>
            <a:t>ID &gt; 10 and &lt; 50</a:t>
          </a:r>
        </a:p>
      </dgm:t>
    </dgm:pt>
    <dgm:pt modelId="{A63E84C0-9C6E-4EEE-AD57-58879E907ED7}" type="parTrans" cxnId="{D72C74F1-A0DC-4835-B2D5-8B2E31336AD3}">
      <dgm:prSet/>
      <dgm:spPr/>
      <dgm:t>
        <a:bodyPr/>
        <a:lstStyle/>
        <a:p>
          <a:endParaRPr lang="en-US"/>
        </a:p>
      </dgm:t>
    </dgm:pt>
    <dgm:pt modelId="{D260CFE3-4206-445A-8836-FE991D38A8D8}" type="sibTrans" cxnId="{D72C74F1-A0DC-4835-B2D5-8B2E31336AD3}">
      <dgm:prSet/>
      <dgm:spPr/>
      <dgm:t>
        <a:bodyPr/>
        <a:lstStyle/>
        <a:p>
          <a:endParaRPr lang="en-US"/>
        </a:p>
      </dgm:t>
    </dgm:pt>
    <dgm:pt modelId="{64D33930-0BC8-4AC5-8490-0AD3A9762C5D}">
      <dgm:prSet custT="1"/>
      <dgm:spPr/>
      <dgm:t>
        <a:bodyPr/>
        <a:lstStyle/>
        <a:p>
          <a:r>
            <a:rPr lang="en-US" sz="2000" dirty="0"/>
            <a:t>Join Simplification: Removes redundant joins that are not necessary</a:t>
          </a:r>
        </a:p>
      </dgm:t>
    </dgm:pt>
    <dgm:pt modelId="{02295F83-E2FD-4CBB-88E9-C60E51A42603}" type="parTrans" cxnId="{C22C03F9-38DF-4E17-9141-DED01C4464E8}">
      <dgm:prSet/>
      <dgm:spPr/>
      <dgm:t>
        <a:bodyPr/>
        <a:lstStyle/>
        <a:p>
          <a:endParaRPr lang="en-US"/>
        </a:p>
      </dgm:t>
    </dgm:pt>
    <dgm:pt modelId="{983B83DA-FC24-499B-9E2B-17CDA061C260}" type="sibTrans" cxnId="{C22C03F9-38DF-4E17-9141-DED01C4464E8}">
      <dgm:prSet/>
      <dgm:spPr/>
      <dgm:t>
        <a:bodyPr/>
        <a:lstStyle/>
        <a:p>
          <a:endParaRPr lang="en-US"/>
        </a:p>
      </dgm:t>
    </dgm:pt>
    <dgm:pt modelId="{B37C91EB-9FCC-4E01-B940-3E9D92484C6D}">
      <dgm:prSet custT="1"/>
      <dgm:spPr/>
      <dgm:t>
        <a:bodyPr/>
        <a:lstStyle/>
        <a:p>
          <a:r>
            <a:rPr lang="en-US" sz="2000" dirty="0"/>
            <a:t>Predicate Pushdown: Perform calculations only on rows returned</a:t>
          </a:r>
        </a:p>
      </dgm:t>
    </dgm:pt>
    <dgm:pt modelId="{4C4C1DED-94D8-4B02-B778-D16D6D798797}" type="parTrans" cxnId="{E1FAEFE8-26D0-42F5-99ED-63669657323C}">
      <dgm:prSet/>
      <dgm:spPr/>
      <dgm:t>
        <a:bodyPr/>
        <a:lstStyle/>
        <a:p>
          <a:endParaRPr lang="en-US"/>
        </a:p>
      </dgm:t>
    </dgm:pt>
    <dgm:pt modelId="{9323958A-F5EF-44B8-AF11-5E1B42105D70}" type="sibTrans" cxnId="{E1FAEFE8-26D0-42F5-99ED-63669657323C}">
      <dgm:prSet/>
      <dgm:spPr/>
      <dgm:t>
        <a:bodyPr/>
        <a:lstStyle/>
        <a:p>
          <a:endParaRPr lang="en-US"/>
        </a:p>
      </dgm:t>
    </dgm:pt>
    <dgm:pt modelId="{7D5199FE-9749-49EF-9B5C-676307B6D65D}" type="pres">
      <dgm:prSet presAssocID="{6540920B-2C4F-43B4-89AD-64EEC6019ED2}" presName="linear" presStyleCnt="0">
        <dgm:presLayoutVars>
          <dgm:animLvl val="lvl"/>
          <dgm:resizeHandles val="exact"/>
        </dgm:presLayoutVars>
      </dgm:prSet>
      <dgm:spPr/>
    </dgm:pt>
    <dgm:pt modelId="{D0B18191-AC71-49BF-98CD-1E93E2ABEF4C}" type="pres">
      <dgm:prSet presAssocID="{2946E55A-32BE-49E8-B556-ED036734050F}" presName="parentText" presStyleLbl="node1" presStyleIdx="0" presStyleCnt="5">
        <dgm:presLayoutVars>
          <dgm:chMax val="0"/>
          <dgm:bulletEnabled val="1"/>
        </dgm:presLayoutVars>
      </dgm:prSet>
      <dgm:spPr/>
    </dgm:pt>
    <dgm:pt modelId="{E7753C57-A5F5-46E1-B7BB-82581E003E85}" type="pres">
      <dgm:prSet presAssocID="{2946E55A-32BE-49E8-B556-ED036734050F}" presName="childText" presStyleLbl="revTx" presStyleIdx="0" presStyleCnt="3">
        <dgm:presLayoutVars>
          <dgm:bulletEnabled val="1"/>
        </dgm:presLayoutVars>
      </dgm:prSet>
      <dgm:spPr/>
    </dgm:pt>
    <dgm:pt modelId="{AD3DC3D7-B755-496C-B049-673782A48B7E}" type="pres">
      <dgm:prSet presAssocID="{76B3B042-5773-4AF0-A342-03BD63583AE1}" presName="parentText" presStyleLbl="node1" presStyleIdx="1" presStyleCnt="5">
        <dgm:presLayoutVars>
          <dgm:chMax val="0"/>
          <dgm:bulletEnabled val="1"/>
        </dgm:presLayoutVars>
      </dgm:prSet>
      <dgm:spPr/>
    </dgm:pt>
    <dgm:pt modelId="{F4979A52-6910-4680-A30D-AF6E5F6F6BEB}" type="pres">
      <dgm:prSet presAssocID="{76B3B042-5773-4AF0-A342-03BD63583AE1}" presName="childText" presStyleLbl="revTx" presStyleIdx="1" presStyleCnt="3">
        <dgm:presLayoutVars>
          <dgm:bulletEnabled val="1"/>
        </dgm:presLayoutVars>
      </dgm:prSet>
      <dgm:spPr/>
    </dgm:pt>
    <dgm:pt modelId="{00D08612-0E1E-47DC-8CA9-705E272E1D3D}" type="pres">
      <dgm:prSet presAssocID="{A9D25BD0-BE09-4345-BADE-D4F2B24CCE15}" presName="parentText" presStyleLbl="node1" presStyleIdx="2" presStyleCnt="5">
        <dgm:presLayoutVars>
          <dgm:chMax val="0"/>
          <dgm:bulletEnabled val="1"/>
        </dgm:presLayoutVars>
      </dgm:prSet>
      <dgm:spPr/>
    </dgm:pt>
    <dgm:pt modelId="{E0A24385-0B6B-4B50-BE74-56A56D95DC41}" type="pres">
      <dgm:prSet presAssocID="{A9D25BD0-BE09-4345-BADE-D4F2B24CCE15}" presName="childText" presStyleLbl="revTx" presStyleIdx="2" presStyleCnt="3">
        <dgm:presLayoutVars>
          <dgm:bulletEnabled val="1"/>
        </dgm:presLayoutVars>
      </dgm:prSet>
      <dgm:spPr/>
    </dgm:pt>
    <dgm:pt modelId="{4DCA75EA-7FE7-4098-A98C-5F17DD83CF52}" type="pres">
      <dgm:prSet presAssocID="{64D33930-0BC8-4AC5-8490-0AD3A9762C5D}" presName="parentText" presStyleLbl="node1" presStyleIdx="3" presStyleCnt="5">
        <dgm:presLayoutVars>
          <dgm:chMax val="0"/>
          <dgm:bulletEnabled val="1"/>
        </dgm:presLayoutVars>
      </dgm:prSet>
      <dgm:spPr/>
    </dgm:pt>
    <dgm:pt modelId="{756D783C-077A-40C8-8A99-2B58F0D50042}" type="pres">
      <dgm:prSet presAssocID="{983B83DA-FC24-499B-9E2B-17CDA061C260}" presName="spacer" presStyleCnt="0"/>
      <dgm:spPr/>
    </dgm:pt>
    <dgm:pt modelId="{4D843B81-431E-4829-9E03-521C00A76FD2}" type="pres">
      <dgm:prSet presAssocID="{B37C91EB-9FCC-4E01-B940-3E9D92484C6D}" presName="parentText" presStyleLbl="node1" presStyleIdx="4" presStyleCnt="5">
        <dgm:presLayoutVars>
          <dgm:chMax val="0"/>
          <dgm:bulletEnabled val="1"/>
        </dgm:presLayoutVars>
      </dgm:prSet>
      <dgm:spPr/>
    </dgm:pt>
  </dgm:ptLst>
  <dgm:cxnLst>
    <dgm:cxn modelId="{B8147200-7F1D-437F-8F7A-66B3B4272B3F}" type="presOf" srcId="{871DBBC0-5C02-42CD-9E80-91D0DE976C8E}" destId="{E7753C57-A5F5-46E1-B7BB-82581E003E85}" srcOrd="0" destOrd="1" presId="urn:microsoft.com/office/officeart/2005/8/layout/vList2"/>
    <dgm:cxn modelId="{7833CA04-16BB-46D1-8B5F-259F1602A19F}" srcId="{76B3B042-5773-4AF0-A342-03BD63583AE1}" destId="{637A78A2-5937-4FFB-9D4D-653846F4F401}" srcOrd="1" destOrd="0" parTransId="{326A3761-38CF-430A-823F-835DB6D9D681}" sibTransId="{D9BCB6D1-8F0A-4413-806C-CF398451F3E3}"/>
    <dgm:cxn modelId="{8F74EB13-1DC6-4730-BD88-3EFC93851120}" type="presOf" srcId="{6540920B-2C4F-43B4-89AD-64EEC6019ED2}" destId="{7D5199FE-9749-49EF-9B5C-676307B6D65D}" srcOrd="0" destOrd="0" presId="urn:microsoft.com/office/officeart/2005/8/layout/vList2"/>
    <dgm:cxn modelId="{B6B22C22-4C47-4ACC-927D-7868A0BE8D14}" srcId="{2946E55A-32BE-49E8-B556-ED036734050F}" destId="{3964F9BA-4FF7-40BE-8120-77511C7AF0BF}" srcOrd="0" destOrd="0" parTransId="{17F806FC-E47D-4C25-8BAA-12601E84478E}" sibTransId="{E6DECC28-ADCA-46D0-AB34-D401A8CAA11B}"/>
    <dgm:cxn modelId="{E4C4C425-C11C-4398-900F-D51AA5D17E08}" srcId="{6540920B-2C4F-43B4-89AD-64EEC6019ED2}" destId="{A9D25BD0-BE09-4345-BADE-D4F2B24CCE15}" srcOrd="2" destOrd="0" parTransId="{4DD442C8-D1CC-4724-974D-833E6852A84E}" sibTransId="{AEFA25C7-5D27-45F1-9593-A65F3B64ADB9}"/>
    <dgm:cxn modelId="{06A7372E-6D04-4029-B30D-09E0C0497742}" srcId="{A9D25BD0-BE09-4345-BADE-D4F2B24CCE15}" destId="{7F438570-B1D3-4200-A192-AF8BDAD44F69}" srcOrd="0" destOrd="0" parTransId="{1D0A2C0D-ADCD-45A3-AE3A-164C719F0922}" sibTransId="{2A337360-18E4-4101-9C2E-D9303CF8752A}"/>
    <dgm:cxn modelId="{EFE01564-6DB9-4BC6-8964-EFCEE4CE1F99}" type="presOf" srcId="{2946E55A-32BE-49E8-B556-ED036734050F}" destId="{D0B18191-AC71-49BF-98CD-1E93E2ABEF4C}" srcOrd="0" destOrd="0" presId="urn:microsoft.com/office/officeart/2005/8/layout/vList2"/>
    <dgm:cxn modelId="{A0584668-E5D7-46AA-99CE-52F59A921508}" srcId="{76B3B042-5773-4AF0-A342-03BD63583AE1}" destId="{076924B9-43A7-4A09-A0A0-51577E02992A}" srcOrd="0" destOrd="0" parTransId="{D89B5B6B-BBB9-4D9B-AF87-249D01D07956}" sibTransId="{6FDEDA38-CC46-422E-A22D-E692CF57B8D2}"/>
    <dgm:cxn modelId="{329B2D8D-9983-4F7F-804F-6A886C19DDA2}" srcId="{6540920B-2C4F-43B4-89AD-64EEC6019ED2}" destId="{2946E55A-32BE-49E8-B556-ED036734050F}" srcOrd="0" destOrd="0" parTransId="{EA755BDB-65F6-4BFF-8D2D-9EB7DD41FF8F}" sibTransId="{4FFCA6CC-1E83-4DF3-9B27-D7CDE4CD4CC7}"/>
    <dgm:cxn modelId="{AE339C98-3F15-457F-AD19-5CB2BE7C2032}" type="presOf" srcId="{76B3B042-5773-4AF0-A342-03BD63583AE1}" destId="{AD3DC3D7-B755-496C-B049-673782A48B7E}" srcOrd="0" destOrd="0" presId="urn:microsoft.com/office/officeart/2005/8/layout/vList2"/>
    <dgm:cxn modelId="{FA9230AE-4B66-45B8-9A78-382604010462}" type="presOf" srcId="{B37C91EB-9FCC-4E01-B940-3E9D92484C6D}" destId="{4D843B81-431E-4829-9E03-521C00A76FD2}" srcOrd="0" destOrd="0" presId="urn:microsoft.com/office/officeart/2005/8/layout/vList2"/>
    <dgm:cxn modelId="{BCEF1FBC-EEF5-4D17-B2FE-9F83530FC9D1}" type="presOf" srcId="{64D33930-0BC8-4AC5-8490-0AD3A9762C5D}" destId="{4DCA75EA-7FE7-4098-A98C-5F17DD83CF52}" srcOrd="0" destOrd="0" presId="urn:microsoft.com/office/officeart/2005/8/layout/vList2"/>
    <dgm:cxn modelId="{E76F66C9-3EA6-4F9F-93D5-EB51749100DC}" type="presOf" srcId="{A9D25BD0-BE09-4345-BADE-D4F2B24CCE15}" destId="{00D08612-0E1E-47DC-8CA9-705E272E1D3D}" srcOrd="0" destOrd="0" presId="urn:microsoft.com/office/officeart/2005/8/layout/vList2"/>
    <dgm:cxn modelId="{3E9D25D8-FB57-437E-B23C-56D4E25EAB69}" type="presOf" srcId="{7F438570-B1D3-4200-A192-AF8BDAD44F69}" destId="{E0A24385-0B6B-4B50-BE74-56A56D95DC41}" srcOrd="0" destOrd="0" presId="urn:microsoft.com/office/officeart/2005/8/layout/vList2"/>
    <dgm:cxn modelId="{BC5865D9-28E2-4855-A1F5-28EF2B6A834E}" srcId="{6540920B-2C4F-43B4-89AD-64EEC6019ED2}" destId="{76B3B042-5773-4AF0-A342-03BD63583AE1}" srcOrd="1" destOrd="0" parTransId="{A36F6669-AD87-46CE-9AB1-E58B8B67CE26}" sibTransId="{0EBFAFB6-67BA-4D31-A1F8-D53B5916C74B}"/>
    <dgm:cxn modelId="{0C7F89D9-9D00-4EDF-8BA7-A27752D7AD7E}" srcId="{2946E55A-32BE-49E8-B556-ED036734050F}" destId="{871DBBC0-5C02-42CD-9E80-91D0DE976C8E}" srcOrd="1" destOrd="0" parTransId="{5D1DF68D-ECF1-435B-B687-3E2A5E695C2C}" sibTransId="{AAABE9F4-B57C-45B3-BDFA-761691D68588}"/>
    <dgm:cxn modelId="{F29E8DDC-C4D3-49BF-B149-A63D6B5618F7}" type="presOf" srcId="{3964F9BA-4FF7-40BE-8120-77511C7AF0BF}" destId="{E7753C57-A5F5-46E1-B7BB-82581E003E85}" srcOrd="0" destOrd="0" presId="urn:microsoft.com/office/officeart/2005/8/layout/vList2"/>
    <dgm:cxn modelId="{32FF9AE1-0658-4361-BC86-C2723E3EA388}" type="presOf" srcId="{076924B9-43A7-4A09-A0A0-51577E02992A}" destId="{F4979A52-6910-4680-A30D-AF6E5F6F6BEB}" srcOrd="0" destOrd="0" presId="urn:microsoft.com/office/officeart/2005/8/layout/vList2"/>
    <dgm:cxn modelId="{886E43E6-E963-4A1C-848E-203D2D45C9ED}" type="presOf" srcId="{4D6F902A-E4D3-48AC-87E4-5E2A16685C7B}" destId="{E0A24385-0B6B-4B50-BE74-56A56D95DC41}" srcOrd="0" destOrd="1" presId="urn:microsoft.com/office/officeart/2005/8/layout/vList2"/>
    <dgm:cxn modelId="{E1FAEFE8-26D0-42F5-99ED-63669657323C}" srcId="{6540920B-2C4F-43B4-89AD-64EEC6019ED2}" destId="{B37C91EB-9FCC-4E01-B940-3E9D92484C6D}" srcOrd="4" destOrd="0" parTransId="{4C4C1DED-94D8-4B02-B778-D16D6D798797}" sibTransId="{9323958A-F5EF-44B8-AF11-5E1B42105D70}"/>
    <dgm:cxn modelId="{0C1162EB-B8D2-47CC-8CB9-79CE6BF681AC}" type="presOf" srcId="{637A78A2-5937-4FFB-9D4D-653846F4F401}" destId="{F4979A52-6910-4680-A30D-AF6E5F6F6BEB}" srcOrd="0" destOrd="1" presId="urn:microsoft.com/office/officeart/2005/8/layout/vList2"/>
    <dgm:cxn modelId="{D72C74F1-A0DC-4835-B2D5-8B2E31336AD3}" srcId="{A9D25BD0-BE09-4345-BADE-D4F2B24CCE15}" destId="{4D6F902A-E4D3-48AC-87E4-5E2A16685C7B}" srcOrd="1" destOrd="0" parTransId="{A63E84C0-9C6E-4EEE-AD57-58879E907ED7}" sibTransId="{D260CFE3-4206-445A-8836-FE991D38A8D8}"/>
    <dgm:cxn modelId="{C22C03F9-38DF-4E17-9141-DED01C4464E8}" srcId="{6540920B-2C4F-43B4-89AD-64EEC6019ED2}" destId="{64D33930-0BC8-4AC5-8490-0AD3A9762C5D}" srcOrd="3" destOrd="0" parTransId="{02295F83-E2FD-4CBB-88E9-C60E51A42603}" sibTransId="{983B83DA-FC24-499B-9E2B-17CDA061C260}"/>
    <dgm:cxn modelId="{437B8931-FEF9-492E-9EE0-108CB0EED03D}" type="presParOf" srcId="{7D5199FE-9749-49EF-9B5C-676307B6D65D}" destId="{D0B18191-AC71-49BF-98CD-1E93E2ABEF4C}" srcOrd="0" destOrd="0" presId="urn:microsoft.com/office/officeart/2005/8/layout/vList2"/>
    <dgm:cxn modelId="{6D1FAB75-3424-4530-A114-78F1624F22DE}" type="presParOf" srcId="{7D5199FE-9749-49EF-9B5C-676307B6D65D}" destId="{E7753C57-A5F5-46E1-B7BB-82581E003E85}" srcOrd="1" destOrd="0" presId="urn:microsoft.com/office/officeart/2005/8/layout/vList2"/>
    <dgm:cxn modelId="{542D38C8-8A30-421A-96D3-DA3DF50BE764}" type="presParOf" srcId="{7D5199FE-9749-49EF-9B5C-676307B6D65D}" destId="{AD3DC3D7-B755-496C-B049-673782A48B7E}" srcOrd="2" destOrd="0" presId="urn:microsoft.com/office/officeart/2005/8/layout/vList2"/>
    <dgm:cxn modelId="{C4F384B3-5A51-4B2D-81EB-E4BE1783D3AE}" type="presParOf" srcId="{7D5199FE-9749-49EF-9B5C-676307B6D65D}" destId="{F4979A52-6910-4680-A30D-AF6E5F6F6BEB}" srcOrd="3" destOrd="0" presId="urn:microsoft.com/office/officeart/2005/8/layout/vList2"/>
    <dgm:cxn modelId="{17F0E1BB-C9B1-461A-BAD5-E7864F675FBA}" type="presParOf" srcId="{7D5199FE-9749-49EF-9B5C-676307B6D65D}" destId="{00D08612-0E1E-47DC-8CA9-705E272E1D3D}" srcOrd="4" destOrd="0" presId="urn:microsoft.com/office/officeart/2005/8/layout/vList2"/>
    <dgm:cxn modelId="{6E1DBFE7-D3A4-40BE-9CF6-984A9A4E4982}" type="presParOf" srcId="{7D5199FE-9749-49EF-9B5C-676307B6D65D}" destId="{E0A24385-0B6B-4B50-BE74-56A56D95DC41}" srcOrd="5" destOrd="0" presId="urn:microsoft.com/office/officeart/2005/8/layout/vList2"/>
    <dgm:cxn modelId="{776BC91C-1274-45FE-A90A-B1C8993BDD8D}" type="presParOf" srcId="{7D5199FE-9749-49EF-9B5C-676307B6D65D}" destId="{4DCA75EA-7FE7-4098-A98C-5F17DD83CF52}" srcOrd="6" destOrd="0" presId="urn:microsoft.com/office/officeart/2005/8/layout/vList2"/>
    <dgm:cxn modelId="{3726E3F1-F73F-499F-B655-88D534EE202B}" type="presParOf" srcId="{7D5199FE-9749-49EF-9B5C-676307B6D65D}" destId="{756D783C-077A-40C8-8A99-2B58F0D50042}" srcOrd="7" destOrd="0" presId="urn:microsoft.com/office/officeart/2005/8/layout/vList2"/>
    <dgm:cxn modelId="{11460C99-2352-4777-9D6E-9729BEA45251}" type="presParOf" srcId="{7D5199FE-9749-49EF-9B5C-676307B6D65D}" destId="{4D843B81-431E-4829-9E03-521C00A76FD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2B4A1F89-C097-4FB7-BE2F-723548C00C73}" type="doc">
      <dgm:prSet loTypeId="urn:microsoft.com/office/officeart/2008/layout/LinedList" loCatId="list" qsTypeId="urn:microsoft.com/office/officeart/2005/8/quickstyle/simple4" qsCatId="simple" csTypeId="urn:microsoft.com/office/officeart/2005/8/colors/accent5_2" csCatId="accent5" phldr="1"/>
      <dgm:spPr/>
      <dgm:t>
        <a:bodyPr/>
        <a:lstStyle/>
        <a:p>
          <a:endParaRPr lang="en-US"/>
        </a:p>
      </dgm:t>
    </dgm:pt>
    <dgm:pt modelId="{FA65ADAF-CA21-4120-BC74-2921DA082C55}">
      <dgm:prSet/>
      <dgm:spPr/>
      <dgm:t>
        <a:bodyPr/>
        <a:lstStyle/>
        <a:p>
          <a:r>
            <a:rPr lang="en-US" b="1" dirty="0"/>
            <a:t>Iterative invocation</a:t>
          </a:r>
          <a:r>
            <a:rPr lang="en-US" dirty="0"/>
            <a:t>: Invoked once per qualifying row. Repeated context switching – and even worse for UDFs that execute SQL queries in their definition.</a:t>
          </a:r>
        </a:p>
      </dgm:t>
    </dgm:pt>
    <dgm:pt modelId="{67BB8A8E-B1D0-4A5E-84CF-1F34DDCFDC6B}" type="parTrans" cxnId="{FEF6ADC2-C186-4BE7-A388-61D500AECAEB}">
      <dgm:prSet/>
      <dgm:spPr/>
      <dgm:t>
        <a:bodyPr/>
        <a:lstStyle/>
        <a:p>
          <a:endParaRPr lang="en-US"/>
        </a:p>
      </dgm:t>
    </dgm:pt>
    <dgm:pt modelId="{8D995336-6F58-4313-901F-9E14AC2E922B}" type="sibTrans" cxnId="{FEF6ADC2-C186-4BE7-A388-61D500AECAEB}">
      <dgm:prSet/>
      <dgm:spPr/>
      <dgm:t>
        <a:bodyPr/>
        <a:lstStyle/>
        <a:p>
          <a:endParaRPr lang="en-US"/>
        </a:p>
      </dgm:t>
    </dgm:pt>
    <dgm:pt modelId="{A63F3693-8E31-4BF8-8E37-592575FFF9F1}">
      <dgm:prSet/>
      <dgm:spPr/>
      <dgm:t>
        <a:bodyPr/>
        <a:lstStyle/>
        <a:p>
          <a:r>
            <a:rPr lang="en-US" b="1" dirty="0"/>
            <a:t>Lack of costing</a:t>
          </a:r>
          <a:r>
            <a:rPr lang="en-US" dirty="0"/>
            <a:t>: Scalar operators are not costed (realistically).</a:t>
          </a:r>
        </a:p>
      </dgm:t>
    </dgm:pt>
    <dgm:pt modelId="{71672D40-9EC9-42C3-8C97-D4F42F1F0933}" type="parTrans" cxnId="{16E2C069-92B5-4BC2-806A-E304431C421F}">
      <dgm:prSet/>
      <dgm:spPr/>
      <dgm:t>
        <a:bodyPr/>
        <a:lstStyle/>
        <a:p>
          <a:endParaRPr lang="en-US"/>
        </a:p>
      </dgm:t>
    </dgm:pt>
    <dgm:pt modelId="{B8FB4CDE-E03D-47D2-9E79-D69A95C76A02}" type="sibTrans" cxnId="{16E2C069-92B5-4BC2-806A-E304431C421F}">
      <dgm:prSet/>
      <dgm:spPr/>
      <dgm:t>
        <a:bodyPr/>
        <a:lstStyle/>
        <a:p>
          <a:endParaRPr lang="en-US"/>
        </a:p>
      </dgm:t>
    </dgm:pt>
    <dgm:pt modelId="{F549F720-E5E7-4D87-A4D7-B7F175E57874}">
      <dgm:prSet/>
      <dgm:spPr/>
      <dgm:t>
        <a:bodyPr/>
        <a:lstStyle/>
        <a:p>
          <a:r>
            <a:rPr lang="en-US" b="1" dirty="0"/>
            <a:t>Interpreted execution</a:t>
          </a:r>
          <a:r>
            <a:rPr lang="en-US" dirty="0"/>
            <a:t>: Each statement itself is compiled, and the compiled plan is cached. No cross-statement optimizations are carried out.</a:t>
          </a:r>
        </a:p>
      </dgm:t>
    </dgm:pt>
    <dgm:pt modelId="{6490022E-FFD3-4EF7-94C7-F8506E107C7D}" type="parTrans" cxnId="{9DDD54B4-A705-4546-B155-3C24BFD4472D}">
      <dgm:prSet/>
      <dgm:spPr/>
      <dgm:t>
        <a:bodyPr/>
        <a:lstStyle/>
        <a:p>
          <a:endParaRPr lang="en-US"/>
        </a:p>
      </dgm:t>
    </dgm:pt>
    <dgm:pt modelId="{C5249CDE-6846-436D-95F9-F3C1D1B26668}" type="sibTrans" cxnId="{9DDD54B4-A705-4546-B155-3C24BFD4472D}">
      <dgm:prSet/>
      <dgm:spPr/>
      <dgm:t>
        <a:bodyPr/>
        <a:lstStyle/>
        <a:p>
          <a:endParaRPr lang="en-US"/>
        </a:p>
      </dgm:t>
    </dgm:pt>
    <dgm:pt modelId="{3C41F6BA-0D3F-4FE3-8F56-A184915A4DF6}">
      <dgm:prSet/>
      <dgm:spPr/>
      <dgm:t>
        <a:bodyPr/>
        <a:lstStyle/>
        <a:p>
          <a:r>
            <a:rPr lang="en-US" b="1" dirty="0"/>
            <a:t>Serial execution</a:t>
          </a:r>
          <a:r>
            <a:rPr lang="en-US" dirty="0"/>
            <a:t>: SQL Server does not allow intra-query parallelism in queries that invoke UDFs.</a:t>
          </a:r>
        </a:p>
      </dgm:t>
    </dgm:pt>
    <dgm:pt modelId="{3DC58CEE-FD28-4917-898B-E0A885A4CDD3}" type="parTrans" cxnId="{DEDDFA60-54A9-477F-BBFD-C46AAA1DC2D5}">
      <dgm:prSet/>
      <dgm:spPr/>
      <dgm:t>
        <a:bodyPr/>
        <a:lstStyle/>
        <a:p>
          <a:endParaRPr lang="en-US"/>
        </a:p>
      </dgm:t>
    </dgm:pt>
    <dgm:pt modelId="{8366BE4D-C41D-4E3F-A717-43B7561904FD}" type="sibTrans" cxnId="{DEDDFA60-54A9-477F-BBFD-C46AAA1DC2D5}">
      <dgm:prSet/>
      <dgm:spPr/>
      <dgm:t>
        <a:bodyPr/>
        <a:lstStyle/>
        <a:p>
          <a:endParaRPr lang="en-US"/>
        </a:p>
      </dgm:t>
    </dgm:pt>
    <dgm:pt modelId="{C78CF1B5-CE07-4FE9-9694-5B267A7AF35F}" type="pres">
      <dgm:prSet presAssocID="{2B4A1F89-C097-4FB7-BE2F-723548C00C73}" presName="vert0" presStyleCnt="0">
        <dgm:presLayoutVars>
          <dgm:dir/>
          <dgm:animOne val="branch"/>
          <dgm:animLvl val="lvl"/>
        </dgm:presLayoutVars>
      </dgm:prSet>
      <dgm:spPr/>
    </dgm:pt>
    <dgm:pt modelId="{6C187C8A-E55F-47C4-AD5D-98C7CABB6CE6}" type="pres">
      <dgm:prSet presAssocID="{FA65ADAF-CA21-4120-BC74-2921DA082C55}" presName="thickLine" presStyleLbl="alignNode1" presStyleIdx="0" presStyleCnt="4"/>
      <dgm:spPr/>
    </dgm:pt>
    <dgm:pt modelId="{4E8D2C13-3339-4DAF-924D-C5FCCF37BC85}" type="pres">
      <dgm:prSet presAssocID="{FA65ADAF-CA21-4120-BC74-2921DA082C55}" presName="horz1" presStyleCnt="0"/>
      <dgm:spPr/>
    </dgm:pt>
    <dgm:pt modelId="{E123843E-C35D-47AB-B00E-D50FB92E1634}" type="pres">
      <dgm:prSet presAssocID="{FA65ADAF-CA21-4120-BC74-2921DA082C55}" presName="tx1" presStyleLbl="revTx" presStyleIdx="0" presStyleCnt="4"/>
      <dgm:spPr/>
    </dgm:pt>
    <dgm:pt modelId="{698109C5-CB51-4EB6-9547-BD4D7402E38B}" type="pres">
      <dgm:prSet presAssocID="{FA65ADAF-CA21-4120-BC74-2921DA082C55}" presName="vert1" presStyleCnt="0"/>
      <dgm:spPr/>
    </dgm:pt>
    <dgm:pt modelId="{46B0BC34-AD6E-41F6-B493-E777B6D176C3}" type="pres">
      <dgm:prSet presAssocID="{A63F3693-8E31-4BF8-8E37-592575FFF9F1}" presName="thickLine" presStyleLbl="alignNode1" presStyleIdx="1" presStyleCnt="4"/>
      <dgm:spPr/>
    </dgm:pt>
    <dgm:pt modelId="{E9F089B3-6AC7-4FF4-9F7C-21EC37BBCF17}" type="pres">
      <dgm:prSet presAssocID="{A63F3693-8E31-4BF8-8E37-592575FFF9F1}" presName="horz1" presStyleCnt="0"/>
      <dgm:spPr/>
    </dgm:pt>
    <dgm:pt modelId="{D9B6CC95-9ECF-483E-94F0-F8D4F66D5385}" type="pres">
      <dgm:prSet presAssocID="{A63F3693-8E31-4BF8-8E37-592575FFF9F1}" presName="tx1" presStyleLbl="revTx" presStyleIdx="1" presStyleCnt="4"/>
      <dgm:spPr/>
    </dgm:pt>
    <dgm:pt modelId="{BC190DBA-A00E-4E43-ACC4-3001DF226B2F}" type="pres">
      <dgm:prSet presAssocID="{A63F3693-8E31-4BF8-8E37-592575FFF9F1}" presName="vert1" presStyleCnt="0"/>
      <dgm:spPr/>
    </dgm:pt>
    <dgm:pt modelId="{15264B79-77BF-4ECD-949B-9CFEC67D260F}" type="pres">
      <dgm:prSet presAssocID="{F549F720-E5E7-4D87-A4D7-B7F175E57874}" presName="thickLine" presStyleLbl="alignNode1" presStyleIdx="2" presStyleCnt="4"/>
      <dgm:spPr/>
    </dgm:pt>
    <dgm:pt modelId="{BAE77B46-D711-4431-9B89-B08A9213206E}" type="pres">
      <dgm:prSet presAssocID="{F549F720-E5E7-4D87-A4D7-B7F175E57874}" presName="horz1" presStyleCnt="0"/>
      <dgm:spPr/>
    </dgm:pt>
    <dgm:pt modelId="{04232D1E-EDA1-4AE0-A22B-D77CC2B11029}" type="pres">
      <dgm:prSet presAssocID="{F549F720-E5E7-4D87-A4D7-B7F175E57874}" presName="tx1" presStyleLbl="revTx" presStyleIdx="2" presStyleCnt="4"/>
      <dgm:spPr/>
    </dgm:pt>
    <dgm:pt modelId="{2E1BDFBB-F917-4B83-9C3C-0C7614EC078B}" type="pres">
      <dgm:prSet presAssocID="{F549F720-E5E7-4D87-A4D7-B7F175E57874}" presName="vert1" presStyleCnt="0"/>
      <dgm:spPr/>
    </dgm:pt>
    <dgm:pt modelId="{F1FEADBE-FB44-4E94-9E3E-016FD00ED591}" type="pres">
      <dgm:prSet presAssocID="{3C41F6BA-0D3F-4FE3-8F56-A184915A4DF6}" presName="thickLine" presStyleLbl="alignNode1" presStyleIdx="3" presStyleCnt="4"/>
      <dgm:spPr/>
    </dgm:pt>
    <dgm:pt modelId="{BEA83816-812A-49FA-90AD-630D8A354693}" type="pres">
      <dgm:prSet presAssocID="{3C41F6BA-0D3F-4FE3-8F56-A184915A4DF6}" presName="horz1" presStyleCnt="0"/>
      <dgm:spPr/>
    </dgm:pt>
    <dgm:pt modelId="{5302CCC9-9D5F-4962-AECD-3EBEF0135A0D}" type="pres">
      <dgm:prSet presAssocID="{3C41F6BA-0D3F-4FE3-8F56-A184915A4DF6}" presName="tx1" presStyleLbl="revTx" presStyleIdx="3" presStyleCnt="4"/>
      <dgm:spPr/>
    </dgm:pt>
    <dgm:pt modelId="{EC024F67-599A-483B-82E4-9040221A06AE}" type="pres">
      <dgm:prSet presAssocID="{3C41F6BA-0D3F-4FE3-8F56-A184915A4DF6}" presName="vert1" presStyleCnt="0"/>
      <dgm:spPr/>
    </dgm:pt>
  </dgm:ptLst>
  <dgm:cxnLst>
    <dgm:cxn modelId="{38C54633-1D96-459C-A794-36639FAA7726}" type="presOf" srcId="{2B4A1F89-C097-4FB7-BE2F-723548C00C73}" destId="{C78CF1B5-CE07-4FE9-9694-5B267A7AF35F}" srcOrd="0" destOrd="0" presId="urn:microsoft.com/office/officeart/2008/layout/LinedList"/>
    <dgm:cxn modelId="{BF0C823F-062B-4DE2-8B88-D10105665CCA}" type="presOf" srcId="{A63F3693-8E31-4BF8-8E37-592575FFF9F1}" destId="{D9B6CC95-9ECF-483E-94F0-F8D4F66D5385}" srcOrd="0" destOrd="0" presId="urn:microsoft.com/office/officeart/2008/layout/LinedList"/>
    <dgm:cxn modelId="{DEDDFA60-54A9-477F-BBFD-C46AAA1DC2D5}" srcId="{2B4A1F89-C097-4FB7-BE2F-723548C00C73}" destId="{3C41F6BA-0D3F-4FE3-8F56-A184915A4DF6}" srcOrd="3" destOrd="0" parTransId="{3DC58CEE-FD28-4917-898B-E0A885A4CDD3}" sibTransId="{8366BE4D-C41D-4E3F-A717-43B7561904FD}"/>
    <dgm:cxn modelId="{16E2C069-92B5-4BC2-806A-E304431C421F}" srcId="{2B4A1F89-C097-4FB7-BE2F-723548C00C73}" destId="{A63F3693-8E31-4BF8-8E37-592575FFF9F1}" srcOrd="1" destOrd="0" parTransId="{71672D40-9EC9-42C3-8C97-D4F42F1F0933}" sibTransId="{B8FB4CDE-E03D-47D2-9E79-D69A95C76A02}"/>
    <dgm:cxn modelId="{EC0D7C70-C993-4923-8D9E-A448837D4FA2}" type="presOf" srcId="{FA65ADAF-CA21-4120-BC74-2921DA082C55}" destId="{E123843E-C35D-47AB-B00E-D50FB92E1634}" srcOrd="0" destOrd="0" presId="urn:microsoft.com/office/officeart/2008/layout/LinedList"/>
    <dgm:cxn modelId="{3900A886-0AA5-4C09-88C6-72745468267A}" type="presOf" srcId="{F549F720-E5E7-4D87-A4D7-B7F175E57874}" destId="{04232D1E-EDA1-4AE0-A22B-D77CC2B11029}" srcOrd="0" destOrd="0" presId="urn:microsoft.com/office/officeart/2008/layout/LinedList"/>
    <dgm:cxn modelId="{03A9C2B0-F355-4C7A-9CDA-386C2F1B7557}" type="presOf" srcId="{3C41F6BA-0D3F-4FE3-8F56-A184915A4DF6}" destId="{5302CCC9-9D5F-4962-AECD-3EBEF0135A0D}" srcOrd="0" destOrd="0" presId="urn:microsoft.com/office/officeart/2008/layout/LinedList"/>
    <dgm:cxn modelId="{9DDD54B4-A705-4546-B155-3C24BFD4472D}" srcId="{2B4A1F89-C097-4FB7-BE2F-723548C00C73}" destId="{F549F720-E5E7-4D87-A4D7-B7F175E57874}" srcOrd="2" destOrd="0" parTransId="{6490022E-FFD3-4EF7-94C7-F8506E107C7D}" sibTransId="{C5249CDE-6846-436D-95F9-F3C1D1B26668}"/>
    <dgm:cxn modelId="{FEF6ADC2-C186-4BE7-A388-61D500AECAEB}" srcId="{2B4A1F89-C097-4FB7-BE2F-723548C00C73}" destId="{FA65ADAF-CA21-4120-BC74-2921DA082C55}" srcOrd="0" destOrd="0" parTransId="{67BB8A8E-B1D0-4A5E-84CF-1F34DDCFDC6B}" sibTransId="{8D995336-6F58-4313-901F-9E14AC2E922B}"/>
    <dgm:cxn modelId="{7C15090C-25C7-4A9A-9944-3EE850F55C9F}" type="presParOf" srcId="{C78CF1B5-CE07-4FE9-9694-5B267A7AF35F}" destId="{6C187C8A-E55F-47C4-AD5D-98C7CABB6CE6}" srcOrd="0" destOrd="0" presId="urn:microsoft.com/office/officeart/2008/layout/LinedList"/>
    <dgm:cxn modelId="{EA118A5D-0652-402D-B738-FA8B3A94842E}" type="presParOf" srcId="{C78CF1B5-CE07-4FE9-9694-5B267A7AF35F}" destId="{4E8D2C13-3339-4DAF-924D-C5FCCF37BC85}" srcOrd="1" destOrd="0" presId="urn:microsoft.com/office/officeart/2008/layout/LinedList"/>
    <dgm:cxn modelId="{CD8C0336-F1C0-4A77-8AFD-420F1DD9D7C9}" type="presParOf" srcId="{4E8D2C13-3339-4DAF-924D-C5FCCF37BC85}" destId="{E123843E-C35D-47AB-B00E-D50FB92E1634}" srcOrd="0" destOrd="0" presId="urn:microsoft.com/office/officeart/2008/layout/LinedList"/>
    <dgm:cxn modelId="{4FF57CA0-B368-400A-B3DA-5E13971347C8}" type="presParOf" srcId="{4E8D2C13-3339-4DAF-924D-C5FCCF37BC85}" destId="{698109C5-CB51-4EB6-9547-BD4D7402E38B}" srcOrd="1" destOrd="0" presId="urn:microsoft.com/office/officeart/2008/layout/LinedList"/>
    <dgm:cxn modelId="{EFDCAE78-2267-4F86-B8DF-1C6EB07F0F9A}" type="presParOf" srcId="{C78CF1B5-CE07-4FE9-9694-5B267A7AF35F}" destId="{46B0BC34-AD6E-41F6-B493-E777B6D176C3}" srcOrd="2" destOrd="0" presId="urn:microsoft.com/office/officeart/2008/layout/LinedList"/>
    <dgm:cxn modelId="{72755F16-AA52-4225-B0A6-9D72389F8757}" type="presParOf" srcId="{C78CF1B5-CE07-4FE9-9694-5B267A7AF35F}" destId="{E9F089B3-6AC7-4FF4-9F7C-21EC37BBCF17}" srcOrd="3" destOrd="0" presId="urn:microsoft.com/office/officeart/2008/layout/LinedList"/>
    <dgm:cxn modelId="{ABF11BF4-74FD-4671-A1A4-4D91EFC569F3}" type="presParOf" srcId="{E9F089B3-6AC7-4FF4-9F7C-21EC37BBCF17}" destId="{D9B6CC95-9ECF-483E-94F0-F8D4F66D5385}" srcOrd="0" destOrd="0" presId="urn:microsoft.com/office/officeart/2008/layout/LinedList"/>
    <dgm:cxn modelId="{92CDAAD3-7195-42AB-BCE0-61139DE87C39}" type="presParOf" srcId="{E9F089B3-6AC7-4FF4-9F7C-21EC37BBCF17}" destId="{BC190DBA-A00E-4E43-ACC4-3001DF226B2F}" srcOrd="1" destOrd="0" presId="urn:microsoft.com/office/officeart/2008/layout/LinedList"/>
    <dgm:cxn modelId="{2E2C4238-4F07-4E39-9589-56CB575388B0}" type="presParOf" srcId="{C78CF1B5-CE07-4FE9-9694-5B267A7AF35F}" destId="{15264B79-77BF-4ECD-949B-9CFEC67D260F}" srcOrd="4" destOrd="0" presId="urn:microsoft.com/office/officeart/2008/layout/LinedList"/>
    <dgm:cxn modelId="{6681831F-0A54-4A7E-8EF9-CC7DC5B4D9B9}" type="presParOf" srcId="{C78CF1B5-CE07-4FE9-9694-5B267A7AF35F}" destId="{BAE77B46-D711-4431-9B89-B08A9213206E}" srcOrd="5" destOrd="0" presId="urn:microsoft.com/office/officeart/2008/layout/LinedList"/>
    <dgm:cxn modelId="{63AF3664-5FB6-4CA0-A926-79911FB57750}" type="presParOf" srcId="{BAE77B46-D711-4431-9B89-B08A9213206E}" destId="{04232D1E-EDA1-4AE0-A22B-D77CC2B11029}" srcOrd="0" destOrd="0" presId="urn:microsoft.com/office/officeart/2008/layout/LinedList"/>
    <dgm:cxn modelId="{CE5FC2B6-0CA7-4469-B773-C58393C2E10E}" type="presParOf" srcId="{BAE77B46-D711-4431-9B89-B08A9213206E}" destId="{2E1BDFBB-F917-4B83-9C3C-0C7614EC078B}" srcOrd="1" destOrd="0" presId="urn:microsoft.com/office/officeart/2008/layout/LinedList"/>
    <dgm:cxn modelId="{FEE5C81F-D250-4ACB-B463-094423F78558}" type="presParOf" srcId="{C78CF1B5-CE07-4FE9-9694-5B267A7AF35F}" destId="{F1FEADBE-FB44-4E94-9E3E-016FD00ED591}" srcOrd="6" destOrd="0" presId="urn:microsoft.com/office/officeart/2008/layout/LinedList"/>
    <dgm:cxn modelId="{40B648E7-4FBF-4AA0-909E-43C46F5066F7}" type="presParOf" srcId="{C78CF1B5-CE07-4FE9-9694-5B267A7AF35F}" destId="{BEA83816-812A-49FA-90AD-630D8A354693}" srcOrd="7" destOrd="0" presId="urn:microsoft.com/office/officeart/2008/layout/LinedList"/>
    <dgm:cxn modelId="{63239127-A548-4750-8A13-AAD130EBA968}" type="presParOf" srcId="{BEA83816-812A-49FA-90AD-630D8A354693}" destId="{5302CCC9-9D5F-4962-AECD-3EBEF0135A0D}" srcOrd="0" destOrd="0" presId="urn:microsoft.com/office/officeart/2008/layout/LinedList"/>
    <dgm:cxn modelId="{71D28C45-1517-4A43-8BD0-22456055E558}" type="presParOf" srcId="{BEA83816-812A-49FA-90AD-630D8A354693}" destId="{EC024F67-599A-483B-82E4-9040221A06A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8A5423A9-DBD4-43BD-8255-93D0C03E0B08}"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1EB379FB-A9FB-4412-9300-F2F6731D178B}">
      <dgm:prSet phldrT="[Text]" custT="1"/>
      <dgm:spPr/>
      <dgm:t>
        <a:bodyPr/>
        <a:lstStyle/>
        <a:p>
          <a:pPr>
            <a:buNone/>
          </a:pPr>
          <a:r>
            <a:rPr lang="en-US" sz="2000" dirty="0"/>
            <a:t>Scalar UDFs are automatically transformed into scalar expressions or scalar subqueries that are substituted in the calling query in place of the UDF operator. </a:t>
          </a:r>
        </a:p>
      </dgm:t>
    </dgm:pt>
    <dgm:pt modelId="{95D45FC4-4689-44DB-BA43-33F937F582BF}" type="parTrans" cxnId="{A74CEDB2-60A5-4155-9088-67EF6FB611DE}">
      <dgm:prSet/>
      <dgm:spPr/>
      <dgm:t>
        <a:bodyPr/>
        <a:lstStyle/>
        <a:p>
          <a:endParaRPr lang="en-US" sz="2000"/>
        </a:p>
      </dgm:t>
    </dgm:pt>
    <dgm:pt modelId="{9EB2E9A9-9E0C-43DE-BC06-510D7229376E}" type="sibTrans" cxnId="{A74CEDB2-60A5-4155-9088-67EF6FB611DE}">
      <dgm:prSet custT="1"/>
      <dgm:spPr/>
      <dgm:t>
        <a:bodyPr/>
        <a:lstStyle/>
        <a:p>
          <a:endParaRPr lang="en-US" sz="2000" dirty="0"/>
        </a:p>
      </dgm:t>
    </dgm:pt>
    <dgm:pt modelId="{9F46196C-DC68-4FED-9FE4-2D6AC3BB7482}">
      <dgm:prSet custT="1"/>
      <dgm:spPr/>
      <dgm:t>
        <a:bodyPr/>
        <a:lstStyle/>
        <a:p>
          <a:r>
            <a:rPr lang="en-US" sz="2000" dirty="0"/>
            <a:t>These expressions and subqueries are then optimized. As a result, the query plan will no longer have a user-defined function operator, but its effects will be observed in the plan, like views or inline TVFs.</a:t>
          </a:r>
        </a:p>
      </dgm:t>
    </dgm:pt>
    <dgm:pt modelId="{D69B74FB-2F67-4637-84A0-A515DD5CDB63}" type="parTrans" cxnId="{C1E3F5F7-4118-4DF9-922B-C612B1FB5A5E}">
      <dgm:prSet/>
      <dgm:spPr/>
      <dgm:t>
        <a:bodyPr/>
        <a:lstStyle/>
        <a:p>
          <a:endParaRPr lang="en-US" sz="2000"/>
        </a:p>
      </dgm:t>
    </dgm:pt>
    <dgm:pt modelId="{126ECA0A-01AD-4123-B43F-99CD8ECBF631}" type="sibTrans" cxnId="{C1E3F5F7-4118-4DF9-922B-C612B1FB5A5E}">
      <dgm:prSet/>
      <dgm:spPr/>
      <dgm:t>
        <a:bodyPr/>
        <a:lstStyle/>
        <a:p>
          <a:endParaRPr lang="en-US" sz="2000"/>
        </a:p>
      </dgm:t>
    </dgm:pt>
    <dgm:pt modelId="{DE43292D-9E5C-4BA1-987F-08DE160A85D9}" type="pres">
      <dgm:prSet presAssocID="{8A5423A9-DBD4-43BD-8255-93D0C03E0B08}" presName="Name0" presStyleCnt="0">
        <dgm:presLayoutVars>
          <dgm:dir/>
          <dgm:resizeHandles val="exact"/>
        </dgm:presLayoutVars>
      </dgm:prSet>
      <dgm:spPr/>
    </dgm:pt>
    <dgm:pt modelId="{58A59778-D032-4875-9B3D-EE31B696F4BB}" type="pres">
      <dgm:prSet presAssocID="{1EB379FB-A9FB-4412-9300-F2F6731D178B}" presName="node" presStyleLbl="node1" presStyleIdx="0" presStyleCnt="2">
        <dgm:presLayoutVars>
          <dgm:bulletEnabled val="1"/>
        </dgm:presLayoutVars>
      </dgm:prSet>
      <dgm:spPr/>
    </dgm:pt>
    <dgm:pt modelId="{FF2B3BE9-4B1D-4750-833C-A14724EEF8CF}" type="pres">
      <dgm:prSet presAssocID="{9EB2E9A9-9E0C-43DE-BC06-510D7229376E}" presName="sibTrans" presStyleLbl="sibTrans2D1" presStyleIdx="0" presStyleCnt="1"/>
      <dgm:spPr/>
    </dgm:pt>
    <dgm:pt modelId="{C53AECDF-6739-4F0F-A517-ADCF67B7E72A}" type="pres">
      <dgm:prSet presAssocID="{9EB2E9A9-9E0C-43DE-BC06-510D7229376E}" presName="connectorText" presStyleLbl="sibTrans2D1" presStyleIdx="0" presStyleCnt="1"/>
      <dgm:spPr/>
    </dgm:pt>
    <dgm:pt modelId="{CD99B0BA-23CF-40DD-801F-8D09AFE04722}" type="pres">
      <dgm:prSet presAssocID="{9F46196C-DC68-4FED-9FE4-2D6AC3BB7482}" presName="node" presStyleLbl="node1" presStyleIdx="1" presStyleCnt="2">
        <dgm:presLayoutVars>
          <dgm:bulletEnabled val="1"/>
        </dgm:presLayoutVars>
      </dgm:prSet>
      <dgm:spPr/>
    </dgm:pt>
  </dgm:ptLst>
  <dgm:cxnLst>
    <dgm:cxn modelId="{10472B46-5F45-4C56-978E-36A6E42D6566}" type="presOf" srcId="{9F46196C-DC68-4FED-9FE4-2D6AC3BB7482}" destId="{CD99B0BA-23CF-40DD-801F-8D09AFE04722}" srcOrd="0" destOrd="0" presId="urn:microsoft.com/office/officeart/2005/8/layout/process1"/>
    <dgm:cxn modelId="{DB189E4B-13A8-4394-8842-D37CF1F8E132}" type="presOf" srcId="{8A5423A9-DBD4-43BD-8255-93D0C03E0B08}" destId="{DE43292D-9E5C-4BA1-987F-08DE160A85D9}" srcOrd="0" destOrd="0" presId="urn:microsoft.com/office/officeart/2005/8/layout/process1"/>
    <dgm:cxn modelId="{903DB659-9E80-4F77-8D66-FBE0751945A6}" type="presOf" srcId="{1EB379FB-A9FB-4412-9300-F2F6731D178B}" destId="{58A59778-D032-4875-9B3D-EE31B696F4BB}" srcOrd="0" destOrd="0" presId="urn:microsoft.com/office/officeart/2005/8/layout/process1"/>
    <dgm:cxn modelId="{A74CEDB2-60A5-4155-9088-67EF6FB611DE}" srcId="{8A5423A9-DBD4-43BD-8255-93D0C03E0B08}" destId="{1EB379FB-A9FB-4412-9300-F2F6731D178B}" srcOrd="0" destOrd="0" parTransId="{95D45FC4-4689-44DB-BA43-33F937F582BF}" sibTransId="{9EB2E9A9-9E0C-43DE-BC06-510D7229376E}"/>
    <dgm:cxn modelId="{86C908BC-FDD0-4B32-BCAA-ACFD224C2195}" type="presOf" srcId="{9EB2E9A9-9E0C-43DE-BC06-510D7229376E}" destId="{C53AECDF-6739-4F0F-A517-ADCF67B7E72A}" srcOrd="1" destOrd="0" presId="urn:microsoft.com/office/officeart/2005/8/layout/process1"/>
    <dgm:cxn modelId="{69DD92EB-C128-4C4F-B58C-D71FD0309101}" type="presOf" srcId="{9EB2E9A9-9E0C-43DE-BC06-510D7229376E}" destId="{FF2B3BE9-4B1D-4750-833C-A14724EEF8CF}" srcOrd="0" destOrd="0" presId="urn:microsoft.com/office/officeart/2005/8/layout/process1"/>
    <dgm:cxn modelId="{C1E3F5F7-4118-4DF9-922B-C612B1FB5A5E}" srcId="{8A5423A9-DBD4-43BD-8255-93D0C03E0B08}" destId="{9F46196C-DC68-4FED-9FE4-2D6AC3BB7482}" srcOrd="1" destOrd="0" parTransId="{D69B74FB-2F67-4637-84A0-A515DD5CDB63}" sibTransId="{126ECA0A-01AD-4123-B43F-99CD8ECBF631}"/>
    <dgm:cxn modelId="{3F3A64E6-3E07-4CAA-84E3-62E5F46822D0}" type="presParOf" srcId="{DE43292D-9E5C-4BA1-987F-08DE160A85D9}" destId="{58A59778-D032-4875-9B3D-EE31B696F4BB}" srcOrd="0" destOrd="0" presId="urn:microsoft.com/office/officeart/2005/8/layout/process1"/>
    <dgm:cxn modelId="{F5DCFB3E-7374-4EF4-8C9C-8517F12F483B}" type="presParOf" srcId="{DE43292D-9E5C-4BA1-987F-08DE160A85D9}" destId="{FF2B3BE9-4B1D-4750-833C-A14724EEF8CF}" srcOrd="1" destOrd="0" presId="urn:microsoft.com/office/officeart/2005/8/layout/process1"/>
    <dgm:cxn modelId="{AF60781B-D56A-4ECE-806C-A53DED6EBAF6}" type="presParOf" srcId="{FF2B3BE9-4B1D-4750-833C-A14724EEF8CF}" destId="{C53AECDF-6739-4F0F-A517-ADCF67B7E72A}" srcOrd="0" destOrd="0" presId="urn:microsoft.com/office/officeart/2005/8/layout/process1"/>
    <dgm:cxn modelId="{5D0D6A3B-3F2B-4A7D-845A-76A2940B07A9}" type="presParOf" srcId="{DE43292D-9E5C-4BA1-987F-08DE160A85D9}" destId="{CD99B0BA-23CF-40DD-801F-8D09AFE04722}"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noProof="0" dirty="0"/>
            <a:t>Is it possible to disable Intelligent Query Processing features?</a:t>
          </a:r>
        </a:p>
      </dgm:t>
    </dgm:pt>
    <dgm:pt modelId="{74BFB16A-6DC3-47DD-AE97-F15F596B23DF}" type="parTrans" cxnId="{4BB646B5-2A6D-439D-A88F-AC928930541F}">
      <dgm:prSet/>
      <dgm:spPr/>
      <dgm:t>
        <a:bodyPr/>
        <a:lstStyle/>
        <a:p>
          <a:endParaRPr lang="en-US" sz="2000" noProof="0" dirty="0"/>
        </a:p>
      </dgm:t>
    </dgm:pt>
    <dgm:pt modelId="{CAE4D9F8-FDBB-4525-9125-6BAF56328FCE}" type="sibTrans" cxnId="{4BB646B5-2A6D-439D-A88F-AC928930541F}">
      <dgm:prSet/>
      <dgm:spPr/>
      <dgm:t>
        <a:bodyPr/>
        <a:lstStyle/>
        <a:p>
          <a:endParaRPr lang="en-US" sz="2000" noProof="0" dirty="0"/>
        </a:p>
      </dgm:t>
    </dgm:pt>
    <dgm:pt modelId="{418CC07E-60A8-4964-8F8D-DE5072ACF3AE}">
      <dgm:prSet custT="1"/>
      <dgm:spPr/>
      <dgm:t>
        <a:bodyPr/>
        <a:lstStyle/>
        <a:p>
          <a:r>
            <a:rPr lang="en-US" sz="2400" kern="1200" noProof="0" dirty="0">
              <a:solidFill>
                <a:srgbClr val="FFFFFF"/>
              </a:solidFill>
              <a:latin typeface="Segoe UI"/>
              <a:ea typeface="+mn-ea"/>
              <a:cs typeface="+mn-cs"/>
            </a:rPr>
            <a:t>On queries not using Interleaved execution for MSTVFs. How many rows are estimated for a MSTVFs?</a:t>
          </a:r>
        </a:p>
      </dgm:t>
    </dgm:pt>
    <dgm:pt modelId="{71830CAB-A849-43AF-B52F-0AA1356AE93A}" type="parTrans" cxnId="{F2229882-6A6F-462F-BD41-A3383DD8D81A}">
      <dgm:prSet/>
      <dgm:spPr/>
      <dgm:t>
        <a:bodyPr/>
        <a:lstStyle/>
        <a:p>
          <a:endParaRPr lang="en-US" sz="2000" noProof="0" dirty="0"/>
        </a:p>
      </dgm:t>
    </dgm:pt>
    <dgm:pt modelId="{83A99661-D9FA-4C77-A79E-390DBD588621}" type="sibTrans" cxnId="{F2229882-6A6F-462F-BD41-A3383DD8D81A}">
      <dgm:prSet/>
      <dgm:spPr/>
      <dgm:t>
        <a:bodyPr/>
        <a:lstStyle/>
        <a:p>
          <a:endParaRPr lang="en-US" sz="2000" noProof="0" dirty="0"/>
        </a:p>
      </dgm:t>
    </dgm:pt>
    <dgm:pt modelId="{2539C4A6-E1C4-421E-9A76-43A43CD019F1}">
      <dgm:prSet custT="1"/>
      <dgm:spPr/>
      <dgm:t>
        <a:bodyPr/>
        <a:lstStyle/>
        <a:p>
          <a:r>
            <a:rPr lang="en-US" sz="2400" noProof="0" dirty="0">
              <a:solidFill>
                <a:srgbClr val="FFFFFF"/>
              </a:solidFill>
              <a:latin typeface="Segoe UI"/>
              <a:ea typeface="+mn-ea"/>
              <a:cs typeface="+mn-cs"/>
            </a:rPr>
            <a:t>On queries not using </a:t>
          </a:r>
          <a:r>
            <a:rPr lang="en-US" sz="2400" b="0" i="0" noProof="0" dirty="0"/>
            <a:t>table variable deferred compilation</a:t>
          </a:r>
          <a:r>
            <a:rPr lang="en-US" sz="2400" noProof="0" dirty="0">
              <a:solidFill>
                <a:srgbClr val="FFFFFF"/>
              </a:solidFill>
              <a:latin typeface="Segoe UI"/>
              <a:ea typeface="+mn-ea"/>
              <a:cs typeface="+mn-cs"/>
            </a:rPr>
            <a:t>. How many rows are estimated for a table variable?</a:t>
          </a:r>
          <a:endParaRPr lang="en-US" sz="2400" noProof="0" dirty="0"/>
        </a:p>
      </dgm:t>
    </dgm:pt>
    <dgm:pt modelId="{EE408FE7-55DA-4DD2-AF86-B751F04B0560}" type="parTrans" cxnId="{98492234-25A1-433B-AC6D-1D609DCBF9E5}">
      <dgm:prSet/>
      <dgm:spPr/>
      <dgm:t>
        <a:bodyPr/>
        <a:lstStyle/>
        <a:p>
          <a:endParaRPr lang="en-US" sz="2000" noProof="0" dirty="0"/>
        </a:p>
      </dgm:t>
    </dgm:pt>
    <dgm:pt modelId="{3FBAB6A2-0607-4274-9C0A-0E5D7E46D320}" type="sibTrans" cxnId="{98492234-25A1-433B-AC6D-1D609DCBF9E5}">
      <dgm:prSet/>
      <dgm:spPr/>
      <dgm:t>
        <a:bodyPr/>
        <a:lstStyle/>
        <a:p>
          <a:endParaRPr lang="en-US" sz="2000" noProof="0" dirty="0"/>
        </a:p>
      </dgm:t>
    </dgm:pt>
    <dgm:pt modelId="{D6BF385F-FCB5-496B-A73A-A097D9006CFF}">
      <dgm:prSet custT="1"/>
      <dgm:spPr/>
      <dgm:t>
        <a:bodyPr/>
        <a:lstStyle/>
        <a:p>
          <a:r>
            <a:rPr lang="en-US" sz="2400" b="0" i="0" kern="1200" noProof="0" dirty="0"/>
            <a:t>Does table variable deferred compilation increase the recompilation frequency?</a:t>
          </a:r>
          <a:endParaRPr lang="en-US" sz="2400" kern="1200" noProof="0" dirty="0">
            <a:solidFill>
              <a:srgbClr val="FFFFFF"/>
            </a:solidFill>
            <a:latin typeface="Segoe UI"/>
            <a:ea typeface="+mn-ea"/>
            <a:cs typeface="+mn-cs"/>
          </a:endParaRPr>
        </a:p>
      </dgm:t>
    </dgm:pt>
    <dgm:pt modelId="{D3630F41-C890-4B11-93AB-962ACE009530}" type="parTrans" cxnId="{7C9BA41A-4B3D-4B4D-BF3E-58CCD5BC8934}">
      <dgm:prSet/>
      <dgm:spPr/>
      <dgm:t>
        <a:bodyPr/>
        <a:lstStyle/>
        <a:p>
          <a:endParaRPr lang="en-US" sz="2000" noProof="0" dirty="0"/>
        </a:p>
      </dgm:t>
    </dgm:pt>
    <dgm:pt modelId="{4562D6A0-6840-4C7B-BAA0-5CE7F9CB18CA}" type="sibTrans" cxnId="{7C9BA41A-4B3D-4B4D-BF3E-58CCD5BC8934}">
      <dgm:prSet/>
      <dgm:spPr/>
      <dgm:t>
        <a:bodyPr/>
        <a:lstStyle/>
        <a:p>
          <a:endParaRPr lang="en-US" sz="2000" noProof="0" dirty="0"/>
        </a:p>
      </dgm:t>
    </dgm:pt>
    <dgm:pt modelId="{EC95275E-3D20-4962-9B2A-1D91372FE4D8}">
      <dgm:prSet custT="1"/>
      <dgm:spPr/>
      <dgm:t>
        <a:bodyPr/>
        <a:lstStyle/>
        <a:p>
          <a:r>
            <a:rPr lang="en-US" sz="2400" kern="1200" noProof="0" dirty="0"/>
            <a:t>What is the minimum compatibility level that supports </a:t>
          </a:r>
          <a:r>
            <a:rPr lang="en-US" sz="2400" kern="1200" noProof="0" dirty="0">
              <a:solidFill>
                <a:srgbClr val="FFFFFF"/>
              </a:solidFill>
              <a:latin typeface="Segoe UI"/>
              <a:ea typeface="+mn-ea"/>
              <a:cs typeface="+mn-cs"/>
            </a:rPr>
            <a:t>Batch mode on rowstore?</a:t>
          </a:r>
        </a:p>
      </dgm:t>
    </dgm:pt>
    <dgm:pt modelId="{E25E49D9-4329-473C-B2B2-A869207AE74B}" type="parTrans" cxnId="{B83268FC-D6CB-494D-99BF-973E2334EBE0}">
      <dgm:prSet/>
      <dgm:spPr/>
      <dgm:t>
        <a:bodyPr/>
        <a:lstStyle/>
        <a:p>
          <a:endParaRPr lang="en-US" noProof="0" dirty="0"/>
        </a:p>
      </dgm:t>
    </dgm:pt>
    <dgm:pt modelId="{C7A630F6-E04E-434A-AFAD-E5D4046B60FE}" type="sibTrans" cxnId="{B83268FC-D6CB-494D-99BF-973E2334EBE0}">
      <dgm:prSet/>
      <dgm:spPr/>
      <dgm:t>
        <a:bodyPr/>
        <a:lstStyle/>
        <a:p>
          <a:endParaRPr lang="en-US" noProof="0" dirty="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5">
        <dgm:presLayoutVars>
          <dgm:chMax val="0"/>
          <dgm:bulletEnabled val="1"/>
        </dgm:presLayoutVars>
      </dgm:prSet>
      <dgm:spPr/>
    </dgm:pt>
    <dgm:pt modelId="{F3577BEC-0D65-4513-956E-F1A98577AD47}" type="pres">
      <dgm:prSet presAssocID="{83A99661-D9FA-4C77-A79E-390DBD588621}" presName="spacer" presStyleCnt="0"/>
      <dgm:spPr/>
    </dgm:pt>
    <dgm:pt modelId="{59DA1BDC-D3DF-4582-8199-733D425BB436}" type="pres">
      <dgm:prSet presAssocID="{D6BF385F-FCB5-496B-A73A-A097D9006CFF}" presName="parentText" presStyleLbl="node1" presStyleIdx="2" presStyleCnt="5">
        <dgm:presLayoutVars>
          <dgm:chMax val="0"/>
          <dgm:bulletEnabled val="1"/>
        </dgm:presLayoutVars>
      </dgm:prSet>
      <dgm:spPr/>
    </dgm:pt>
    <dgm:pt modelId="{C076DF1E-0157-4919-B6EF-046C09B590E0}" type="pres">
      <dgm:prSet presAssocID="{4562D6A0-6840-4C7B-BAA0-5CE7F9CB18CA}" presName="spacer" presStyleCnt="0"/>
      <dgm:spPr/>
    </dgm:pt>
    <dgm:pt modelId="{0E5177C7-801D-471B-9850-4FD8DFBC4036}" type="pres">
      <dgm:prSet presAssocID="{2539C4A6-E1C4-421E-9A76-43A43CD019F1}" presName="parentText" presStyleLbl="node1" presStyleIdx="3" presStyleCnt="5">
        <dgm:presLayoutVars>
          <dgm:chMax val="0"/>
          <dgm:bulletEnabled val="1"/>
        </dgm:presLayoutVars>
      </dgm:prSet>
      <dgm:spPr/>
    </dgm:pt>
    <dgm:pt modelId="{92267634-1AAF-41AD-8D13-15A11E0FC5DD}" type="pres">
      <dgm:prSet presAssocID="{3FBAB6A2-0607-4274-9C0A-0E5D7E46D320}" presName="spacer" presStyleCnt="0"/>
      <dgm:spPr/>
    </dgm:pt>
    <dgm:pt modelId="{5055DFDF-D73C-4B98-B20D-23D111DE9D8D}" type="pres">
      <dgm:prSet presAssocID="{EC95275E-3D20-4962-9B2A-1D91372FE4D8}"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7C9BA41A-4B3D-4B4D-BF3E-58CCD5BC8934}" srcId="{15A7774C-B622-4F48-8F7B-AF1AAB74E997}" destId="{D6BF385F-FCB5-496B-A73A-A097D9006CFF}" srcOrd="2" destOrd="0" parTransId="{D3630F41-C890-4B11-93AB-962ACE009530}" sibTransId="{4562D6A0-6840-4C7B-BAA0-5CE7F9CB18CA}"/>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1ED4C052-0D1B-4EFA-9A66-89099AB21D56}" type="presOf" srcId="{D6BF385F-FCB5-496B-A73A-A097D9006CFF}" destId="{59DA1BDC-D3DF-4582-8199-733D425BB436}"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B312F5C4-F734-45A6-BD4F-79C1658E09C7}" type="presOf" srcId="{EC95275E-3D20-4962-9B2A-1D91372FE4D8}" destId="{5055DFDF-D73C-4B98-B20D-23D111DE9D8D}" srcOrd="0" destOrd="0" presId="urn:microsoft.com/office/officeart/2005/8/layout/vList2"/>
    <dgm:cxn modelId="{4F627DC6-4CCB-4DA4-A3EB-4FEA16B20C11}" type="presOf" srcId="{2539C4A6-E1C4-421E-9A76-43A43CD019F1}" destId="{0E5177C7-801D-471B-9850-4FD8DFBC4036}"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B83268FC-D6CB-494D-99BF-973E2334EBE0}" srcId="{15A7774C-B622-4F48-8F7B-AF1AAB74E997}" destId="{EC95275E-3D20-4962-9B2A-1D91372FE4D8}" srcOrd="4" destOrd="0" parTransId="{E25E49D9-4329-473C-B2B2-A869207AE74B}" sibTransId="{C7A630F6-E04E-434A-AFAD-E5D4046B60F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C461B792-4066-476E-B0B6-D0D95FA82686}" type="presParOf" srcId="{97400BD5-14CE-4761-8A6A-64BC46D23158}" destId="{59DA1BDC-D3DF-4582-8199-733D425BB436}" srcOrd="4" destOrd="0" presId="urn:microsoft.com/office/officeart/2005/8/layout/vList2"/>
    <dgm:cxn modelId="{8E66680C-ACBB-46AC-B448-243071AF16C5}" type="presParOf" srcId="{97400BD5-14CE-4761-8A6A-64BC46D23158}" destId="{C076DF1E-0157-4919-B6EF-046C09B590E0}"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37C54A85-527A-4CB6-BDC7-970E2A7F6FC4}" type="presParOf" srcId="{97400BD5-14CE-4761-8A6A-64BC46D23158}" destId="{92267634-1AAF-41AD-8D13-15A11E0FC5DD}" srcOrd="7" destOrd="0" presId="urn:microsoft.com/office/officeart/2005/8/layout/vList2"/>
    <dgm:cxn modelId="{99288EB5-97F5-4E65-A2F3-842E8E397883}" type="presParOf" srcId="{97400BD5-14CE-4761-8A6A-64BC46D23158}" destId="{5055DFDF-D73C-4B98-B20D-23D111DE9D8D}"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BBB98E-C148-4A73-BA40-825C1DE7565E}"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1E50989D-56E3-4AA0-A7E5-8212624F7C69}">
      <dgm:prSet phldrT="[Text]" custT="1"/>
      <dgm:spPr/>
      <dgm:t>
        <a:bodyPr/>
        <a:lstStyle/>
        <a:p>
          <a:pPr algn="l">
            <a:buFont typeface="Arial" panose="020B0604020202020204" pitchFamily="34" charset="0"/>
            <a:buChar char="•"/>
          </a:pPr>
          <a:r>
            <a:rPr lang="en-US" sz="2000" b="1" i="0" kern="1200" dirty="0">
              <a:latin typeface="+mj-lt"/>
              <a:ea typeface="+mn-ea"/>
              <a:cs typeface="+mn-cs"/>
            </a:rPr>
            <a:t>Estimated Execution Plan (Before Execution)</a:t>
          </a:r>
        </a:p>
      </dgm:t>
    </dgm:pt>
    <dgm:pt modelId="{DCBC2806-FE57-4FF9-A63C-1BDA8C568CED}" type="parTrans" cxnId="{1C73C468-FA46-4815-B2FA-C054831AB9DC}">
      <dgm:prSet/>
      <dgm:spPr/>
      <dgm:t>
        <a:bodyPr/>
        <a:lstStyle/>
        <a:p>
          <a:pPr algn="l"/>
          <a:endParaRPr lang="en-US"/>
        </a:p>
      </dgm:t>
    </dgm:pt>
    <dgm:pt modelId="{EE241621-2B3C-4C5E-B9A6-C45E85B11A97}" type="sibTrans" cxnId="{1C73C468-FA46-4815-B2FA-C054831AB9DC}">
      <dgm:prSet/>
      <dgm:spPr/>
      <dgm:t>
        <a:bodyPr/>
        <a:lstStyle/>
        <a:p>
          <a:pPr algn="l"/>
          <a:endParaRPr lang="en-US"/>
        </a:p>
      </dgm:t>
    </dgm:pt>
    <dgm:pt modelId="{D0DFB929-AF59-451C-8AB4-C324E5A1C17A}">
      <dgm:prSet custT="1"/>
      <dgm:spPr/>
      <dgm: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gm:t>
    </dgm:pt>
    <dgm:pt modelId="{C071B821-2292-472C-B34E-2F3CF96CF487}" type="parTrans" cxnId="{21FD0914-E609-420D-B889-FE3CED465DC6}">
      <dgm:prSet/>
      <dgm:spPr/>
      <dgm:t>
        <a:bodyPr/>
        <a:lstStyle/>
        <a:p>
          <a:pPr algn="l"/>
          <a:endParaRPr lang="en-US"/>
        </a:p>
      </dgm:t>
    </dgm:pt>
    <dgm:pt modelId="{2B2BE62E-E335-4978-9E65-4D3D3BF35BB0}" type="sibTrans" cxnId="{21FD0914-E609-420D-B889-FE3CED465DC6}">
      <dgm:prSet/>
      <dgm:spPr/>
      <dgm:t>
        <a:bodyPr/>
        <a:lstStyle/>
        <a:p>
          <a:pPr algn="l"/>
          <a:endParaRPr lang="en-US"/>
        </a:p>
      </dgm:t>
    </dgm:pt>
    <dgm:pt modelId="{BD547D32-8A82-4AFA-B443-655CF639AEF3}">
      <dgm:prSet custT="1"/>
      <dgm:spPr/>
      <dgm:t>
        <a:bodyPr/>
        <a:lstStyle/>
        <a:p>
          <a:pPr algn="l">
            <a:buFont typeface="Arial" panose="020B0604020202020204" pitchFamily="34" charset="0"/>
            <a:buChar char="•"/>
          </a:pPr>
          <a:r>
            <a:rPr lang="en-US" sz="2000" b="1" i="0" dirty="0">
              <a:latin typeface="+mj-lt"/>
            </a:rPr>
            <a:t>Actual Execution Plan (After Execution)</a:t>
          </a:r>
        </a:p>
      </dgm:t>
    </dgm:pt>
    <dgm:pt modelId="{D951B5A0-0447-4E7F-A043-A3A944E36680}" type="parTrans" cxnId="{A4D152BC-2CE2-45AA-B4C6-3E28DBD90E68}">
      <dgm:prSet/>
      <dgm:spPr/>
      <dgm:t>
        <a:bodyPr/>
        <a:lstStyle/>
        <a:p>
          <a:pPr algn="l"/>
          <a:endParaRPr lang="en-US"/>
        </a:p>
      </dgm:t>
    </dgm:pt>
    <dgm:pt modelId="{1E57BE85-C823-4EF3-B966-F6B4AAC2FBE2}" type="sibTrans" cxnId="{A4D152BC-2CE2-45AA-B4C6-3E28DBD90E68}">
      <dgm:prSet/>
      <dgm:spPr/>
      <dgm:t>
        <a:bodyPr/>
        <a:lstStyle/>
        <a:p>
          <a:pPr algn="l"/>
          <a:endParaRPr lang="en-US"/>
        </a:p>
      </dgm:t>
    </dgm:pt>
    <dgm:pt modelId="{706EE6B1-7CC8-4C9A-B92E-D3DB377AA212}">
      <dgm:prSet phldrT="[Text]"/>
      <dgm:spPr/>
      <dgm:t>
        <a:bodyPr/>
        <a:lstStyle/>
        <a:p>
          <a:pPr algn="l">
            <a:buFont typeface="Arial" panose="020B0604020202020204" pitchFamily="34" charset="0"/>
            <a:buChar char="•"/>
          </a:pPr>
          <a:r>
            <a:rPr lang="en-US" b="0" i="0" dirty="0"/>
            <a:t>The compiled plan.</a:t>
          </a:r>
          <a:endParaRPr lang="en-US" dirty="0"/>
        </a:p>
      </dgm:t>
    </dgm:pt>
    <dgm:pt modelId="{9836E142-FEC1-46D5-A79C-07E021EF02D5}" type="parTrans" cxnId="{9F6B7313-3294-449C-95C2-B29BE6A1239D}">
      <dgm:prSet/>
      <dgm:spPr/>
      <dgm:t>
        <a:bodyPr/>
        <a:lstStyle/>
        <a:p>
          <a:pPr algn="l"/>
          <a:endParaRPr lang="en-US"/>
        </a:p>
      </dgm:t>
    </dgm:pt>
    <dgm:pt modelId="{500CCEB6-0D0B-4762-8DB1-513F072FBE46}" type="sibTrans" cxnId="{9F6B7313-3294-449C-95C2-B29BE6A1239D}">
      <dgm:prSet/>
      <dgm:spPr/>
      <dgm:t>
        <a:bodyPr/>
        <a:lstStyle/>
        <a:p>
          <a:pPr algn="l"/>
          <a:endParaRPr lang="en-US"/>
        </a:p>
      </dgm:t>
    </dgm:pt>
    <dgm:pt modelId="{375A8C87-C4B4-4005-861E-A41B042DD1D6}">
      <dgm:prSet/>
      <dgm:spPr/>
      <dgm:t>
        <a:bodyPr/>
        <a:lstStyle/>
        <a:p>
          <a:pPr marL="0" indent="0" algn="l">
            <a:buFont typeface="Arial" panose="020B0604020202020204" pitchFamily="34" charset="0"/>
            <a:buChar char="•"/>
          </a:pPr>
          <a:r>
            <a:rPr lang="en-US" b="0" i="0" dirty="0"/>
            <a:t>The same as the compiled plan plus its execution context.</a:t>
          </a:r>
        </a:p>
      </dgm:t>
    </dgm:pt>
    <dgm:pt modelId="{D29593F6-48E3-436A-9317-4950D3E041F5}" type="parTrans" cxnId="{3AF50D84-5E79-4BE0-A40D-86D90FE08012}">
      <dgm:prSet/>
      <dgm:spPr/>
      <dgm:t>
        <a:bodyPr/>
        <a:lstStyle/>
        <a:p>
          <a:pPr algn="l"/>
          <a:endParaRPr lang="en-US"/>
        </a:p>
      </dgm:t>
    </dgm:pt>
    <dgm:pt modelId="{5FBFFBD6-D717-4125-B153-E797E6E2998F}" type="sibTrans" cxnId="{3AF50D84-5E79-4BE0-A40D-86D90FE08012}">
      <dgm:prSet/>
      <dgm:spPr/>
      <dgm:t>
        <a:bodyPr/>
        <a:lstStyle/>
        <a:p>
          <a:pPr algn="l"/>
          <a:endParaRPr lang="en-US"/>
        </a:p>
      </dgm:t>
    </dgm:pt>
    <dgm:pt modelId="{EBFA624E-53FE-46C6-92A6-D8078B1BF005}">
      <dgm:prSet/>
      <dgm:spPr/>
      <dgm:t>
        <a:bodyPr/>
        <a:lstStyle/>
        <a:p>
          <a:pPr marL="0" indent="0" algn="l">
            <a:buFont typeface="Arial" panose="020B0604020202020204" pitchFamily="34" charset="0"/>
            <a:buChar char="•"/>
          </a:pPr>
          <a:r>
            <a:rPr lang="en-US" b="0" i="0" dirty="0"/>
            <a:t>The same as the compiled plan plus its execution context. </a:t>
          </a:r>
        </a:p>
      </dgm:t>
    </dgm:pt>
    <dgm:pt modelId="{989E4290-8FD9-4588-8F8E-373DD34599C3}" type="parTrans" cxnId="{A0C0595F-234F-47A2-84C5-B6648A88FC5C}">
      <dgm:prSet/>
      <dgm:spPr/>
      <dgm:t>
        <a:bodyPr/>
        <a:lstStyle/>
        <a:p>
          <a:pPr algn="l"/>
          <a:endParaRPr lang="en-US"/>
        </a:p>
      </dgm:t>
    </dgm:pt>
    <dgm:pt modelId="{915DEFB0-48CF-4ACA-9DA1-5D5CD0B0040F}" type="sibTrans" cxnId="{A0C0595F-234F-47A2-84C5-B6648A88FC5C}">
      <dgm:prSet/>
      <dgm:spPr/>
      <dgm:t>
        <a:bodyPr/>
        <a:lstStyle/>
        <a:p>
          <a:pPr algn="l"/>
          <a:endParaRPr lang="en-US"/>
        </a:p>
      </dgm:t>
    </dgm:pt>
    <dgm:pt modelId="{185CBA25-B83D-4250-9E7E-19062DCCCA13}">
      <dgm:prSet/>
      <dgm:spPr/>
      <dgm:t>
        <a:bodyPr/>
        <a:lstStyle/>
        <a:p>
          <a:pPr marL="0" indent="0" algn="l">
            <a:buFont typeface="Arial" panose="020B0604020202020204" pitchFamily="34" charset="0"/>
            <a:buChar char="•"/>
          </a:pPr>
          <a:r>
            <a:rPr lang="en-US" b="0" i="0" dirty="0"/>
            <a:t>This includes runtime information available after the execution completes, such as execution warnings, or in newer versions of the Database Engine, the elapsed and CPU time used during execution.</a:t>
          </a:r>
        </a:p>
      </dgm:t>
    </dgm:pt>
    <dgm:pt modelId="{37529963-87FB-4AD8-999A-EE9ACB45192F}" type="parTrans" cxnId="{A79DC40B-D725-4E8E-B23A-395CF4738EE2}">
      <dgm:prSet/>
      <dgm:spPr/>
      <dgm:t>
        <a:bodyPr/>
        <a:lstStyle/>
        <a:p>
          <a:pPr algn="l"/>
          <a:endParaRPr lang="en-US"/>
        </a:p>
      </dgm:t>
    </dgm:pt>
    <dgm:pt modelId="{C1A4DA7F-8A08-40CB-86D4-A9D2C5541D82}" type="sibTrans" cxnId="{A79DC40B-D725-4E8E-B23A-395CF4738EE2}">
      <dgm:prSet/>
      <dgm:spPr/>
      <dgm:t>
        <a:bodyPr/>
        <a:lstStyle/>
        <a:p>
          <a:pPr algn="l"/>
          <a:endParaRPr lang="en-US"/>
        </a:p>
      </dgm:t>
    </dgm:pt>
    <dgm:pt modelId="{C723780F-9F4B-4C0B-B376-BD8975CB55C8}">
      <dgm:prSet/>
      <dgm:spPr/>
      <dgm:t>
        <a:bodyPr/>
        <a:lstStyle/>
        <a:p>
          <a:pPr marL="0" indent="0" algn="l">
            <a:buFont typeface="Arial" panose="020B0604020202020204" pitchFamily="34" charset="0"/>
            <a:buChar char="•"/>
          </a:pPr>
          <a:r>
            <a:rPr lang="en-US" b="0" i="0" dirty="0"/>
            <a:t>This includes runtime information during execution progress and is updated every second. Runtime information includes for example the actual number of rows flowing through the operators.</a:t>
          </a:r>
        </a:p>
      </dgm:t>
    </dgm:pt>
    <dgm:pt modelId="{F2EAA2DA-B9A9-4297-9579-F74B99DC88F6}" type="parTrans" cxnId="{96908515-0992-430C-BFB7-BAD2213690FF}">
      <dgm:prSet/>
      <dgm:spPr/>
      <dgm:t>
        <a:bodyPr/>
        <a:lstStyle/>
        <a:p>
          <a:pPr algn="l"/>
          <a:endParaRPr lang="en-US"/>
        </a:p>
      </dgm:t>
    </dgm:pt>
    <dgm:pt modelId="{CC04E669-722C-4B28-B72F-5AFA5318746D}" type="sibTrans" cxnId="{96908515-0992-430C-BFB7-BAD2213690FF}">
      <dgm:prSet/>
      <dgm:spPr/>
      <dgm:t>
        <a:bodyPr/>
        <a:lstStyle/>
        <a:p>
          <a:pPr algn="l"/>
          <a:endParaRPr lang="en-US"/>
        </a:p>
      </dgm:t>
    </dgm:pt>
    <dgm:pt modelId="{CDB2EC04-1A23-40AD-827B-6191930CAF4E}">
      <dgm:prSet/>
      <dgm:spPr/>
      <dgm:t>
        <a:bodyPr/>
        <a:lstStyle/>
        <a:p>
          <a:pPr marL="0" indent="0" algn="l">
            <a:buFont typeface="Arial" panose="020B0604020202020204" pitchFamily="34" charset="0"/>
            <a:buChar char="•"/>
          </a:pPr>
          <a:r>
            <a:rPr lang="en-US" dirty="0"/>
            <a:t>Enables rapid identification of potential bottlenecks.</a:t>
          </a:r>
          <a:endParaRPr lang="en-US" b="0" i="0" dirty="0"/>
        </a:p>
      </dgm:t>
    </dgm:pt>
    <dgm:pt modelId="{E36563D2-F2D8-4E01-8EA3-FF7B3009A1F3}" type="parTrans" cxnId="{8EA699E2-BB96-4F6C-B3C0-1C5BF7D7727F}">
      <dgm:prSet/>
      <dgm:spPr/>
      <dgm:t>
        <a:bodyPr/>
        <a:lstStyle/>
        <a:p>
          <a:pPr algn="l"/>
          <a:endParaRPr lang="en-US"/>
        </a:p>
      </dgm:t>
    </dgm:pt>
    <dgm:pt modelId="{C88DE7AB-2582-4934-A9BC-49335B547B8E}" type="sibTrans" cxnId="{8EA699E2-BB96-4F6C-B3C0-1C5BF7D7727F}">
      <dgm:prSet/>
      <dgm:spPr/>
      <dgm:t>
        <a:bodyPr/>
        <a:lstStyle/>
        <a:p>
          <a:pPr algn="l"/>
          <a:endParaRPr lang="en-US"/>
        </a:p>
      </dgm:t>
    </dgm:pt>
    <dgm:pt modelId="{A5207788-1848-419B-9174-A9173B07446A}" type="pres">
      <dgm:prSet presAssocID="{DBBBB98E-C148-4A73-BA40-825C1DE7565E}" presName="linear" presStyleCnt="0">
        <dgm:presLayoutVars>
          <dgm:dir/>
          <dgm:animLvl val="lvl"/>
          <dgm:resizeHandles val="exact"/>
        </dgm:presLayoutVars>
      </dgm:prSet>
      <dgm:spPr/>
    </dgm:pt>
    <dgm:pt modelId="{5D065949-85A2-48B1-9238-2D696FAA163C}" type="pres">
      <dgm:prSet presAssocID="{1E50989D-56E3-4AA0-A7E5-8212624F7C69}" presName="parentLin" presStyleCnt="0"/>
      <dgm:spPr/>
    </dgm:pt>
    <dgm:pt modelId="{93BC5F52-8980-4C47-BB3A-29DF0E250D74}" type="pres">
      <dgm:prSet presAssocID="{1E50989D-56E3-4AA0-A7E5-8212624F7C69}" presName="parentLeftMargin" presStyleLbl="node1" presStyleIdx="0" presStyleCnt="3"/>
      <dgm:spPr/>
    </dgm:pt>
    <dgm:pt modelId="{FE5D72FD-32BF-4AE2-ACA8-290580A168D3}" type="pres">
      <dgm:prSet presAssocID="{1E50989D-56E3-4AA0-A7E5-8212624F7C69}" presName="parentText" presStyleLbl="node1" presStyleIdx="0" presStyleCnt="3">
        <dgm:presLayoutVars>
          <dgm:chMax val="0"/>
          <dgm:bulletEnabled val="1"/>
        </dgm:presLayoutVars>
      </dgm:prSet>
      <dgm:spPr/>
    </dgm:pt>
    <dgm:pt modelId="{96195342-73ED-4573-8ECF-1AF902A6FD33}" type="pres">
      <dgm:prSet presAssocID="{1E50989D-56E3-4AA0-A7E5-8212624F7C69}" presName="negativeSpace" presStyleCnt="0"/>
      <dgm:spPr/>
    </dgm:pt>
    <dgm:pt modelId="{EEB8589D-BD4A-49AE-87C3-4C0A359F4B92}" type="pres">
      <dgm:prSet presAssocID="{1E50989D-56E3-4AA0-A7E5-8212624F7C69}" presName="childText" presStyleLbl="conFgAcc1" presStyleIdx="0" presStyleCnt="3">
        <dgm:presLayoutVars>
          <dgm:bulletEnabled val="1"/>
        </dgm:presLayoutVars>
      </dgm:prSet>
      <dgm:spPr/>
    </dgm:pt>
    <dgm:pt modelId="{0C0BE48C-F8FD-40AF-A28C-A4CA91521AB4}" type="pres">
      <dgm:prSet presAssocID="{EE241621-2B3C-4C5E-B9A6-C45E85B11A97}" presName="spaceBetweenRectangles" presStyleCnt="0"/>
      <dgm:spPr/>
    </dgm:pt>
    <dgm:pt modelId="{FD70FE63-E4F3-487B-96A8-52F8FBB8AAE8}" type="pres">
      <dgm:prSet presAssocID="{BD547D32-8A82-4AFA-B443-655CF639AEF3}" presName="parentLin" presStyleCnt="0"/>
      <dgm:spPr/>
    </dgm:pt>
    <dgm:pt modelId="{45FCE905-41DE-47D8-9C0F-966CE0CBCB1F}" type="pres">
      <dgm:prSet presAssocID="{BD547D32-8A82-4AFA-B443-655CF639AEF3}" presName="parentLeftMargin" presStyleLbl="node1" presStyleIdx="0" presStyleCnt="3"/>
      <dgm:spPr/>
    </dgm:pt>
    <dgm:pt modelId="{1FB297A9-E852-47A8-AEAB-9200D7CC69EB}" type="pres">
      <dgm:prSet presAssocID="{BD547D32-8A82-4AFA-B443-655CF639AEF3}" presName="parentText" presStyleLbl="node1" presStyleIdx="1" presStyleCnt="3">
        <dgm:presLayoutVars>
          <dgm:chMax val="0"/>
          <dgm:bulletEnabled val="1"/>
        </dgm:presLayoutVars>
      </dgm:prSet>
      <dgm:spPr/>
    </dgm:pt>
    <dgm:pt modelId="{4CBD5BE1-6E4B-4383-BCCB-A285F6B6575B}" type="pres">
      <dgm:prSet presAssocID="{BD547D32-8A82-4AFA-B443-655CF639AEF3}" presName="negativeSpace" presStyleCnt="0"/>
      <dgm:spPr/>
    </dgm:pt>
    <dgm:pt modelId="{A5DC065D-A216-4D8A-8BAA-A263DD53A95C}" type="pres">
      <dgm:prSet presAssocID="{BD547D32-8A82-4AFA-B443-655CF639AEF3}" presName="childText" presStyleLbl="conFgAcc1" presStyleIdx="1" presStyleCnt="3">
        <dgm:presLayoutVars>
          <dgm:bulletEnabled val="1"/>
        </dgm:presLayoutVars>
      </dgm:prSet>
      <dgm:spPr/>
    </dgm:pt>
    <dgm:pt modelId="{7EF427CA-A1DC-4A56-B28B-01BB37A1B73D}" type="pres">
      <dgm:prSet presAssocID="{1E57BE85-C823-4EF3-B966-F6B4AAC2FBE2}" presName="spaceBetweenRectangles" presStyleCnt="0"/>
      <dgm:spPr/>
    </dgm:pt>
    <dgm:pt modelId="{8CC74FB8-1964-44E1-AA36-FEECDFD195D7}" type="pres">
      <dgm:prSet presAssocID="{D0DFB929-AF59-451C-8AB4-C324E5A1C17A}" presName="parentLin" presStyleCnt="0"/>
      <dgm:spPr/>
    </dgm:pt>
    <dgm:pt modelId="{9B2C39D5-FA7E-4DAD-9D5B-85612490195F}" type="pres">
      <dgm:prSet presAssocID="{D0DFB929-AF59-451C-8AB4-C324E5A1C17A}" presName="parentLeftMargin" presStyleLbl="node1" presStyleIdx="1" presStyleCnt="3"/>
      <dgm:spPr/>
    </dgm:pt>
    <dgm:pt modelId="{F1481B12-F96B-4E05-BC6B-8478930FEF5C}" type="pres">
      <dgm:prSet presAssocID="{D0DFB929-AF59-451C-8AB4-C324E5A1C17A}" presName="parentText" presStyleLbl="node1" presStyleIdx="2" presStyleCnt="3">
        <dgm:presLayoutVars>
          <dgm:chMax val="0"/>
          <dgm:bulletEnabled val="1"/>
        </dgm:presLayoutVars>
      </dgm:prSet>
      <dgm:spPr/>
    </dgm:pt>
    <dgm:pt modelId="{3B69B189-8F44-4334-B4F1-6EFF9D86FBA2}" type="pres">
      <dgm:prSet presAssocID="{D0DFB929-AF59-451C-8AB4-C324E5A1C17A}" presName="negativeSpace" presStyleCnt="0"/>
      <dgm:spPr/>
    </dgm:pt>
    <dgm:pt modelId="{4B56EDFF-9421-4654-A094-7450365BA1B6}" type="pres">
      <dgm:prSet presAssocID="{D0DFB929-AF59-451C-8AB4-C324E5A1C17A}" presName="childText" presStyleLbl="conFgAcc1" presStyleIdx="2" presStyleCnt="3">
        <dgm:presLayoutVars>
          <dgm:bulletEnabled val="1"/>
        </dgm:presLayoutVars>
      </dgm:prSet>
      <dgm:spPr/>
    </dgm:pt>
  </dgm:ptLst>
  <dgm:cxnLst>
    <dgm:cxn modelId="{A79DC40B-D725-4E8E-B23A-395CF4738EE2}" srcId="{BD547D32-8A82-4AFA-B443-655CF639AEF3}" destId="{185CBA25-B83D-4250-9E7E-19062DCCCA13}" srcOrd="1" destOrd="0" parTransId="{37529963-87FB-4AD8-999A-EE9ACB45192F}" sibTransId="{C1A4DA7F-8A08-40CB-86D4-A9D2C5541D82}"/>
    <dgm:cxn modelId="{1CBBEB12-E8B9-48AD-95DD-AEA5114901BC}" type="presOf" srcId="{375A8C87-C4B4-4005-861E-A41B042DD1D6}" destId="{4B56EDFF-9421-4654-A094-7450365BA1B6}" srcOrd="0" destOrd="0" presId="urn:microsoft.com/office/officeart/2005/8/layout/list1"/>
    <dgm:cxn modelId="{9F6B7313-3294-449C-95C2-B29BE6A1239D}" srcId="{1E50989D-56E3-4AA0-A7E5-8212624F7C69}" destId="{706EE6B1-7CC8-4C9A-B92E-D3DB377AA212}" srcOrd="0" destOrd="0" parTransId="{9836E142-FEC1-46D5-A79C-07E021EF02D5}" sibTransId="{500CCEB6-0D0B-4762-8DB1-513F072FBE46}"/>
    <dgm:cxn modelId="{21FD0914-E609-420D-B889-FE3CED465DC6}" srcId="{DBBBB98E-C148-4A73-BA40-825C1DE7565E}" destId="{D0DFB929-AF59-451C-8AB4-C324E5A1C17A}" srcOrd="2" destOrd="0" parTransId="{C071B821-2292-472C-B34E-2F3CF96CF487}" sibTransId="{2B2BE62E-E335-4978-9E65-4D3D3BF35BB0}"/>
    <dgm:cxn modelId="{96908515-0992-430C-BFB7-BAD2213690FF}" srcId="{D0DFB929-AF59-451C-8AB4-C324E5A1C17A}" destId="{C723780F-9F4B-4C0B-B376-BD8975CB55C8}" srcOrd="1" destOrd="0" parTransId="{F2EAA2DA-B9A9-4297-9579-F74B99DC88F6}" sibTransId="{CC04E669-722C-4B28-B72F-5AFA5318746D}"/>
    <dgm:cxn modelId="{F9F6CF1B-32C2-452B-9A47-B40F006073B4}" type="presOf" srcId="{D0DFB929-AF59-451C-8AB4-C324E5A1C17A}" destId="{9B2C39D5-FA7E-4DAD-9D5B-85612490195F}" srcOrd="0" destOrd="0" presId="urn:microsoft.com/office/officeart/2005/8/layout/list1"/>
    <dgm:cxn modelId="{D6FA4538-2904-4A96-8A41-4ADCDA786B25}" type="presOf" srcId="{1E50989D-56E3-4AA0-A7E5-8212624F7C69}" destId="{FE5D72FD-32BF-4AE2-ACA8-290580A168D3}" srcOrd="1" destOrd="0" presId="urn:microsoft.com/office/officeart/2005/8/layout/list1"/>
    <dgm:cxn modelId="{A0C0595F-234F-47A2-84C5-B6648A88FC5C}" srcId="{BD547D32-8A82-4AFA-B443-655CF639AEF3}" destId="{EBFA624E-53FE-46C6-92A6-D8078B1BF005}" srcOrd="0" destOrd="0" parTransId="{989E4290-8FD9-4588-8F8E-373DD34599C3}" sibTransId="{915DEFB0-48CF-4ACA-9DA1-5D5CD0B0040F}"/>
    <dgm:cxn modelId="{B072E067-75B6-4BEA-BFD3-85DB87E4422F}" type="presOf" srcId="{D0DFB929-AF59-451C-8AB4-C324E5A1C17A}" destId="{F1481B12-F96B-4E05-BC6B-8478930FEF5C}" srcOrd="1" destOrd="0" presId="urn:microsoft.com/office/officeart/2005/8/layout/list1"/>
    <dgm:cxn modelId="{1C73C468-FA46-4815-B2FA-C054831AB9DC}" srcId="{DBBBB98E-C148-4A73-BA40-825C1DE7565E}" destId="{1E50989D-56E3-4AA0-A7E5-8212624F7C69}" srcOrd="0" destOrd="0" parTransId="{DCBC2806-FE57-4FF9-A63C-1BDA8C568CED}" sibTransId="{EE241621-2B3C-4C5E-B9A6-C45E85B11A97}"/>
    <dgm:cxn modelId="{AE5B7469-A6B1-4EF2-82A0-784242403C27}" type="presOf" srcId="{EBFA624E-53FE-46C6-92A6-D8078B1BF005}" destId="{A5DC065D-A216-4D8A-8BAA-A263DD53A95C}" srcOrd="0" destOrd="0" presId="urn:microsoft.com/office/officeart/2005/8/layout/list1"/>
    <dgm:cxn modelId="{0C1DF056-A3FC-471C-9FAE-3E146BF22FBA}" type="presOf" srcId="{1E50989D-56E3-4AA0-A7E5-8212624F7C69}" destId="{93BC5F52-8980-4C47-BB3A-29DF0E250D74}" srcOrd="0" destOrd="0" presId="urn:microsoft.com/office/officeart/2005/8/layout/list1"/>
    <dgm:cxn modelId="{3AF50D84-5E79-4BE0-A40D-86D90FE08012}" srcId="{D0DFB929-AF59-451C-8AB4-C324E5A1C17A}" destId="{375A8C87-C4B4-4005-861E-A41B042DD1D6}" srcOrd="0" destOrd="0" parTransId="{D29593F6-48E3-436A-9317-4950D3E041F5}" sibTransId="{5FBFFBD6-D717-4125-B153-E797E6E2998F}"/>
    <dgm:cxn modelId="{A9008C9A-C621-4356-A7FC-90D2FE233DD4}" type="presOf" srcId="{706EE6B1-7CC8-4C9A-B92E-D3DB377AA212}" destId="{EEB8589D-BD4A-49AE-87C3-4C0A359F4B92}" srcOrd="0" destOrd="0" presId="urn:microsoft.com/office/officeart/2005/8/layout/list1"/>
    <dgm:cxn modelId="{8BD839A9-8A19-49F7-B212-8275DB2F1611}" type="presOf" srcId="{DBBBB98E-C148-4A73-BA40-825C1DE7565E}" destId="{A5207788-1848-419B-9174-A9173B07446A}" srcOrd="0" destOrd="0" presId="urn:microsoft.com/office/officeart/2005/8/layout/list1"/>
    <dgm:cxn modelId="{4DBB23AA-63EF-453C-98C2-18019A74B55C}" type="presOf" srcId="{CDB2EC04-1A23-40AD-827B-6191930CAF4E}" destId="{4B56EDFF-9421-4654-A094-7450365BA1B6}" srcOrd="0" destOrd="2" presId="urn:microsoft.com/office/officeart/2005/8/layout/list1"/>
    <dgm:cxn modelId="{C1B7C3AE-72F0-47E3-9E09-DC00FF3B8AC9}" type="presOf" srcId="{BD547D32-8A82-4AFA-B443-655CF639AEF3}" destId="{45FCE905-41DE-47D8-9C0F-966CE0CBCB1F}" srcOrd="0" destOrd="0" presId="urn:microsoft.com/office/officeart/2005/8/layout/list1"/>
    <dgm:cxn modelId="{A4D152BC-2CE2-45AA-B4C6-3E28DBD90E68}" srcId="{DBBBB98E-C148-4A73-BA40-825C1DE7565E}" destId="{BD547D32-8A82-4AFA-B443-655CF639AEF3}" srcOrd="1" destOrd="0" parTransId="{D951B5A0-0447-4E7F-A043-A3A944E36680}" sibTransId="{1E57BE85-C823-4EF3-B966-F6B4AAC2FBE2}"/>
    <dgm:cxn modelId="{209A45C5-2B4D-4CF0-9D44-AADCAC161F65}" type="presOf" srcId="{185CBA25-B83D-4250-9E7E-19062DCCCA13}" destId="{A5DC065D-A216-4D8A-8BAA-A263DD53A95C}" srcOrd="0" destOrd="1" presId="urn:microsoft.com/office/officeart/2005/8/layout/list1"/>
    <dgm:cxn modelId="{3CB028D3-086F-4C11-9E39-642D936FF459}" type="presOf" srcId="{BD547D32-8A82-4AFA-B443-655CF639AEF3}" destId="{1FB297A9-E852-47A8-AEAB-9200D7CC69EB}" srcOrd="1" destOrd="0" presId="urn:microsoft.com/office/officeart/2005/8/layout/list1"/>
    <dgm:cxn modelId="{E3807DD3-1A9B-4AED-9697-214556314E2C}" type="presOf" srcId="{C723780F-9F4B-4C0B-B376-BD8975CB55C8}" destId="{4B56EDFF-9421-4654-A094-7450365BA1B6}" srcOrd="0" destOrd="1" presId="urn:microsoft.com/office/officeart/2005/8/layout/list1"/>
    <dgm:cxn modelId="{8EA699E2-BB96-4F6C-B3C0-1C5BF7D7727F}" srcId="{D0DFB929-AF59-451C-8AB4-C324E5A1C17A}" destId="{CDB2EC04-1A23-40AD-827B-6191930CAF4E}" srcOrd="2" destOrd="0" parTransId="{E36563D2-F2D8-4E01-8EA3-FF7B3009A1F3}" sibTransId="{C88DE7AB-2582-4934-A9BC-49335B547B8E}"/>
    <dgm:cxn modelId="{F5488133-8DD4-44F3-8AC6-5418E21DDE65}" type="presParOf" srcId="{A5207788-1848-419B-9174-A9173B07446A}" destId="{5D065949-85A2-48B1-9238-2D696FAA163C}" srcOrd="0" destOrd="0" presId="urn:microsoft.com/office/officeart/2005/8/layout/list1"/>
    <dgm:cxn modelId="{13572EAF-8383-4B51-8CCC-E6876739934F}" type="presParOf" srcId="{5D065949-85A2-48B1-9238-2D696FAA163C}" destId="{93BC5F52-8980-4C47-BB3A-29DF0E250D74}" srcOrd="0" destOrd="0" presId="urn:microsoft.com/office/officeart/2005/8/layout/list1"/>
    <dgm:cxn modelId="{1642EA79-B4DB-4A69-9A74-C9F1BC2086AB}" type="presParOf" srcId="{5D065949-85A2-48B1-9238-2D696FAA163C}" destId="{FE5D72FD-32BF-4AE2-ACA8-290580A168D3}" srcOrd="1" destOrd="0" presId="urn:microsoft.com/office/officeart/2005/8/layout/list1"/>
    <dgm:cxn modelId="{F95F3F41-058E-4253-A2F9-2154E93EC0FF}" type="presParOf" srcId="{A5207788-1848-419B-9174-A9173B07446A}" destId="{96195342-73ED-4573-8ECF-1AF902A6FD33}" srcOrd="1" destOrd="0" presId="urn:microsoft.com/office/officeart/2005/8/layout/list1"/>
    <dgm:cxn modelId="{A4443553-1A60-4608-AA1A-71181B4E7117}" type="presParOf" srcId="{A5207788-1848-419B-9174-A9173B07446A}" destId="{EEB8589D-BD4A-49AE-87C3-4C0A359F4B92}" srcOrd="2" destOrd="0" presId="urn:microsoft.com/office/officeart/2005/8/layout/list1"/>
    <dgm:cxn modelId="{0E8D7423-3CFD-4AA3-8363-98D3413BF048}" type="presParOf" srcId="{A5207788-1848-419B-9174-A9173B07446A}" destId="{0C0BE48C-F8FD-40AF-A28C-A4CA91521AB4}" srcOrd="3" destOrd="0" presId="urn:microsoft.com/office/officeart/2005/8/layout/list1"/>
    <dgm:cxn modelId="{5188F7E0-5512-41D5-9CB9-1830EF7BBD99}" type="presParOf" srcId="{A5207788-1848-419B-9174-A9173B07446A}" destId="{FD70FE63-E4F3-487B-96A8-52F8FBB8AAE8}" srcOrd="4" destOrd="0" presId="urn:microsoft.com/office/officeart/2005/8/layout/list1"/>
    <dgm:cxn modelId="{7FF3A3AB-DAB1-4E07-A3B8-E5499A4C9014}" type="presParOf" srcId="{FD70FE63-E4F3-487B-96A8-52F8FBB8AAE8}" destId="{45FCE905-41DE-47D8-9C0F-966CE0CBCB1F}" srcOrd="0" destOrd="0" presId="urn:microsoft.com/office/officeart/2005/8/layout/list1"/>
    <dgm:cxn modelId="{78E4F23B-9CC1-4C65-BAA1-E845154997B8}" type="presParOf" srcId="{FD70FE63-E4F3-487B-96A8-52F8FBB8AAE8}" destId="{1FB297A9-E852-47A8-AEAB-9200D7CC69EB}" srcOrd="1" destOrd="0" presId="urn:microsoft.com/office/officeart/2005/8/layout/list1"/>
    <dgm:cxn modelId="{98740761-BCD4-402F-993D-F298E4658417}" type="presParOf" srcId="{A5207788-1848-419B-9174-A9173B07446A}" destId="{4CBD5BE1-6E4B-4383-BCCB-A285F6B6575B}" srcOrd="5" destOrd="0" presId="urn:microsoft.com/office/officeart/2005/8/layout/list1"/>
    <dgm:cxn modelId="{CBC644A1-A49C-4030-8E73-5867D1196136}" type="presParOf" srcId="{A5207788-1848-419B-9174-A9173B07446A}" destId="{A5DC065D-A216-4D8A-8BAA-A263DD53A95C}" srcOrd="6" destOrd="0" presId="urn:microsoft.com/office/officeart/2005/8/layout/list1"/>
    <dgm:cxn modelId="{DD416C46-5063-4999-8D81-7F4331E873F1}" type="presParOf" srcId="{A5207788-1848-419B-9174-A9173B07446A}" destId="{7EF427CA-A1DC-4A56-B28B-01BB37A1B73D}" srcOrd="7" destOrd="0" presId="urn:microsoft.com/office/officeart/2005/8/layout/list1"/>
    <dgm:cxn modelId="{ACBE204F-DD9E-4549-BD26-4197A7C4CE95}" type="presParOf" srcId="{A5207788-1848-419B-9174-A9173B07446A}" destId="{8CC74FB8-1964-44E1-AA36-FEECDFD195D7}" srcOrd="8" destOrd="0" presId="urn:microsoft.com/office/officeart/2005/8/layout/list1"/>
    <dgm:cxn modelId="{96C5EE6C-1F33-422C-A99C-6A5E7587FD06}" type="presParOf" srcId="{8CC74FB8-1964-44E1-AA36-FEECDFD195D7}" destId="{9B2C39D5-FA7E-4DAD-9D5B-85612490195F}" srcOrd="0" destOrd="0" presId="urn:microsoft.com/office/officeart/2005/8/layout/list1"/>
    <dgm:cxn modelId="{84EA57F0-0BD4-4CA4-8943-570BE877442F}" type="presParOf" srcId="{8CC74FB8-1964-44E1-AA36-FEECDFD195D7}" destId="{F1481B12-F96B-4E05-BC6B-8478930FEF5C}" srcOrd="1" destOrd="0" presId="urn:microsoft.com/office/officeart/2005/8/layout/list1"/>
    <dgm:cxn modelId="{6CE36756-4810-4B4A-B95F-844C0F5B2D57}" type="presParOf" srcId="{A5207788-1848-419B-9174-A9173B07446A}" destId="{3B69B189-8F44-4334-B4F1-6EFF9D86FBA2}" srcOrd="9" destOrd="0" presId="urn:microsoft.com/office/officeart/2005/8/layout/list1"/>
    <dgm:cxn modelId="{37A1100A-F6FE-455A-A5FD-97B0D7A73E34}" type="presParOf" srcId="{A5207788-1848-419B-9174-A9173B07446A}" destId="{4B56EDFF-9421-4654-A094-7450365BA1B6}"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523DD64-AB16-4434-8C6C-63B100AD8622}"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800B82AE-FE5E-45A3-9842-8FCD742E8ACF}">
      <dgm:prSet phldrT="[Text]" custT="1"/>
      <dgm:spPr/>
      <dgm:t>
        <a:bodyPr/>
        <a:lstStyle/>
        <a:p>
          <a:pPr>
            <a:buNone/>
          </a:pPr>
          <a:r>
            <a:rPr lang="en-US" sz="2400" b="1" dirty="0"/>
            <a:t>Row mode execution</a:t>
          </a:r>
          <a:endParaRPr lang="en-US" sz="2400" dirty="0"/>
        </a:p>
      </dgm:t>
    </dgm:pt>
    <dgm:pt modelId="{254D225E-D992-4641-A00B-9443EC72E75E}" type="parTrans" cxnId="{1ACC604C-16D7-46D3-96B6-1BF2A58FA78E}">
      <dgm:prSet/>
      <dgm:spPr/>
      <dgm:t>
        <a:bodyPr/>
        <a:lstStyle/>
        <a:p>
          <a:endParaRPr lang="en-US"/>
        </a:p>
      </dgm:t>
    </dgm:pt>
    <dgm:pt modelId="{0ACE353A-9CB8-48A6-B72E-2FE15C1B8C45}" type="sibTrans" cxnId="{1ACC604C-16D7-46D3-96B6-1BF2A58FA78E}">
      <dgm:prSet/>
      <dgm:spPr/>
      <dgm:t>
        <a:bodyPr/>
        <a:lstStyle/>
        <a:p>
          <a:endParaRPr lang="en-US"/>
        </a:p>
      </dgm:t>
    </dgm:pt>
    <dgm:pt modelId="{0814C5F0-9821-403F-8D69-27161441D0FC}">
      <dgm:prSet custT="1"/>
      <dgm:spPr/>
      <dgm:t>
        <a:bodyPr/>
        <a:lstStyle/>
        <a:p>
          <a:r>
            <a:rPr lang="en-US" sz="2400" b="1" dirty="0"/>
            <a:t>Batch mode execution</a:t>
          </a:r>
          <a:endParaRPr lang="en-US" sz="2400" dirty="0"/>
        </a:p>
      </dgm:t>
    </dgm:pt>
    <dgm:pt modelId="{C26D88FA-3E84-4208-A95A-A3BA54C7A16C}" type="parTrans" cxnId="{758943A1-A3BA-449F-8051-A14BA2FAD2CB}">
      <dgm:prSet/>
      <dgm:spPr/>
      <dgm:t>
        <a:bodyPr/>
        <a:lstStyle/>
        <a:p>
          <a:endParaRPr lang="en-US"/>
        </a:p>
      </dgm:t>
    </dgm:pt>
    <dgm:pt modelId="{CC02D201-680E-4205-BEFA-758ADAFFC78C}" type="sibTrans" cxnId="{758943A1-A3BA-449F-8051-A14BA2FAD2CB}">
      <dgm:prSet/>
      <dgm:spPr/>
      <dgm:t>
        <a:bodyPr/>
        <a:lstStyle/>
        <a:p>
          <a:endParaRPr lang="en-US"/>
        </a:p>
      </dgm:t>
    </dgm:pt>
    <dgm:pt modelId="{17636B08-BA29-45B5-983E-2FEB426F654F}">
      <dgm:prSet/>
      <dgm:spPr/>
      <dgm:t>
        <a:bodyPr/>
        <a:lstStyle/>
        <a:p>
          <a:r>
            <a:rPr lang="en-US" b="0" i="0" dirty="0"/>
            <a:t>Efficient for Data Warehousing scenarios</a:t>
          </a:r>
          <a:endParaRPr lang="en-US" dirty="0"/>
        </a:p>
      </dgm:t>
    </dgm:pt>
    <dgm:pt modelId="{8E83074B-E922-4C0B-B052-29BB1206AC9D}" type="parTrans" cxnId="{506B8DB1-82C0-4E91-A8A2-C408ADECE3BB}">
      <dgm:prSet/>
      <dgm:spPr/>
      <dgm:t>
        <a:bodyPr/>
        <a:lstStyle/>
        <a:p>
          <a:endParaRPr lang="en-US"/>
        </a:p>
      </dgm:t>
    </dgm:pt>
    <dgm:pt modelId="{9A50A0C5-9832-4716-81D2-88E94588C4D2}" type="sibTrans" cxnId="{506B8DB1-82C0-4E91-A8A2-C408ADECE3BB}">
      <dgm:prSet/>
      <dgm:spPr/>
      <dgm:t>
        <a:bodyPr/>
        <a:lstStyle/>
        <a:p>
          <a:endParaRPr lang="en-US"/>
        </a:p>
      </dgm:t>
    </dgm:pt>
    <dgm:pt modelId="{9EF74FB6-53B1-4ACE-9B92-3AEB68ECE854}">
      <dgm:prSet phldrT="[Text]"/>
      <dgm:spPr/>
      <dgm:t>
        <a:bodyPr/>
        <a:lstStyle/>
        <a:p>
          <a:pPr>
            <a:buFont typeface="Arial" panose="020B0604020202020204" pitchFamily="34" charset="0"/>
            <a:buChar char="•"/>
          </a:pPr>
          <a:r>
            <a:rPr lang="en-US" b="0" i="0" dirty="0"/>
            <a:t>Efficient for OLTP scenarios</a:t>
          </a:r>
          <a:endParaRPr lang="en-US" dirty="0"/>
        </a:p>
      </dgm:t>
    </dgm:pt>
    <dgm:pt modelId="{BE1B52FA-E11D-4D00-81ED-CE2B989C5689}" type="parTrans" cxnId="{078755BC-47AD-4ED9-835A-892B304F8EB5}">
      <dgm:prSet/>
      <dgm:spPr/>
      <dgm:t>
        <a:bodyPr/>
        <a:lstStyle/>
        <a:p>
          <a:endParaRPr lang="en-US"/>
        </a:p>
      </dgm:t>
    </dgm:pt>
    <dgm:pt modelId="{8A9A65C7-11A4-41A1-BE54-D31E2E8DFACB}" type="sibTrans" cxnId="{078755BC-47AD-4ED9-835A-892B304F8EB5}">
      <dgm:prSet/>
      <dgm:spPr/>
      <dgm:t>
        <a:bodyPr/>
        <a:lstStyle/>
        <a:p>
          <a:endParaRPr lang="en-US"/>
        </a:p>
      </dgm:t>
    </dgm:pt>
    <dgm:pt modelId="{447EECC4-3FD8-4E7E-8822-475250EB35B4}">
      <dgm:prSet phldrT="[Text]"/>
      <dgm:spPr/>
      <dgm:t>
        <a:bodyPr/>
        <a:lstStyle/>
        <a:p>
          <a:pPr>
            <a:buFont typeface="Arial" panose="020B0604020202020204" pitchFamily="34" charset="0"/>
            <a:buChar char="•"/>
          </a:pPr>
          <a:r>
            <a:rPr lang="en-US" b="0" i="0" dirty="0"/>
            <a:t>Operators read all columns from qualifying rows based on predicate, and for each row it retrieves columns needed for the result set</a:t>
          </a:r>
          <a:endParaRPr lang="en-US" dirty="0"/>
        </a:p>
      </dgm:t>
    </dgm:pt>
    <dgm:pt modelId="{4425527D-0A44-4B2A-A44D-B7D60BA942C5}" type="parTrans" cxnId="{8F85D785-74BF-4E71-BF23-408A4EC6FDDA}">
      <dgm:prSet/>
      <dgm:spPr/>
      <dgm:t>
        <a:bodyPr/>
        <a:lstStyle/>
        <a:p>
          <a:endParaRPr lang="en-US"/>
        </a:p>
      </dgm:t>
    </dgm:pt>
    <dgm:pt modelId="{4836C47B-BC6E-41BD-B2A8-87C7AD7F01E0}" type="sibTrans" cxnId="{8F85D785-74BF-4E71-BF23-408A4EC6FDDA}">
      <dgm:prSet/>
      <dgm:spPr/>
      <dgm:t>
        <a:bodyPr/>
        <a:lstStyle/>
        <a:p>
          <a:endParaRPr lang="en-US"/>
        </a:p>
      </dgm:t>
    </dgm:pt>
    <dgm:pt modelId="{43FB6299-B685-4F26-8C58-B151446F88A5}">
      <dgm:prSet/>
      <dgm:spPr/>
      <dgm:t>
        <a:bodyPr/>
        <a:lstStyle/>
        <a:p>
          <a:r>
            <a:rPr lang="en-US" b="0" i="0" dirty="0"/>
            <a:t>Used to process multiple rows together </a:t>
          </a:r>
          <a:endParaRPr lang="en-US" dirty="0"/>
        </a:p>
      </dgm:t>
    </dgm:pt>
    <dgm:pt modelId="{121E9758-DD7D-4FEB-B260-9A68E27C628C}" type="parTrans" cxnId="{239E45CF-9F58-46D2-99AF-7A4CBA84D548}">
      <dgm:prSet/>
      <dgm:spPr/>
      <dgm:t>
        <a:bodyPr/>
        <a:lstStyle/>
        <a:p>
          <a:endParaRPr lang="en-US"/>
        </a:p>
      </dgm:t>
    </dgm:pt>
    <dgm:pt modelId="{5F3876D5-FC89-4DD9-8B7B-976E2B94CD54}" type="sibTrans" cxnId="{239E45CF-9F58-46D2-99AF-7A4CBA84D548}">
      <dgm:prSet/>
      <dgm:spPr/>
      <dgm:t>
        <a:bodyPr/>
        <a:lstStyle/>
        <a:p>
          <a:endParaRPr lang="en-US"/>
        </a:p>
      </dgm:t>
    </dgm:pt>
    <dgm:pt modelId="{BAA5A48F-B375-418F-8FB2-FA7983B46618}">
      <dgm:prSet/>
      <dgm:spPr/>
      <dgm:t>
        <a:bodyPr/>
        <a:lstStyle/>
        <a:p>
          <a:r>
            <a:rPr lang="en-US" b="0" i="0" dirty="0"/>
            <a:t>Closely integrated with, and optimized around the ColumnStore storage format</a:t>
          </a:r>
          <a:endParaRPr lang="en-US" dirty="0"/>
        </a:p>
      </dgm:t>
    </dgm:pt>
    <dgm:pt modelId="{0CA5345F-A72B-4A27-A938-93A2B2989378}" type="parTrans" cxnId="{9425544F-CD6C-4043-83E1-DCDB23328D48}">
      <dgm:prSet/>
      <dgm:spPr/>
      <dgm:t>
        <a:bodyPr/>
        <a:lstStyle/>
        <a:p>
          <a:endParaRPr lang="en-US"/>
        </a:p>
      </dgm:t>
    </dgm:pt>
    <dgm:pt modelId="{FA4E3840-5D9B-4E89-87A9-977ABE29280D}" type="sibTrans" cxnId="{9425544F-CD6C-4043-83E1-DCDB23328D48}">
      <dgm:prSet/>
      <dgm:spPr/>
      <dgm:t>
        <a:bodyPr/>
        <a:lstStyle/>
        <a:p>
          <a:endParaRPr lang="en-US"/>
        </a:p>
      </dgm:t>
    </dgm:pt>
    <dgm:pt modelId="{C11B7BF4-0C80-474E-A3DF-A0CC969BF58B}">
      <dgm:prSet/>
      <dgm:spPr/>
      <dgm:t>
        <a:bodyPr/>
        <a:lstStyle/>
        <a:p>
          <a:r>
            <a:rPr lang="en-US" b="0" i="0" dirty="0"/>
            <a:t>Operators read only the columns required for the result, from group of rows together. </a:t>
          </a:r>
          <a:endParaRPr lang="en-US" dirty="0"/>
        </a:p>
      </dgm:t>
    </dgm:pt>
    <dgm:pt modelId="{5D3D4C41-E0A9-4DC0-BDF5-9A8A4491AC6B}" type="parTrans" cxnId="{F6CC10D5-7362-4AAD-8581-442923527BE4}">
      <dgm:prSet/>
      <dgm:spPr/>
      <dgm:t>
        <a:bodyPr/>
        <a:lstStyle/>
        <a:p>
          <a:endParaRPr lang="en-US"/>
        </a:p>
      </dgm:t>
    </dgm:pt>
    <dgm:pt modelId="{E4312FA7-54F4-4792-8734-C32698A29C91}" type="sibTrans" cxnId="{F6CC10D5-7362-4AAD-8581-442923527BE4}">
      <dgm:prSet/>
      <dgm:spPr/>
      <dgm:t>
        <a:bodyPr/>
        <a:lstStyle/>
        <a:p>
          <a:endParaRPr lang="en-US"/>
        </a:p>
      </dgm:t>
    </dgm:pt>
    <dgm:pt modelId="{D06D06FA-7F21-40F3-A979-AD0EAA4142A3}">
      <dgm:prSet phldrT="[Text]"/>
      <dgm:spPr/>
      <dgm:t>
        <a:bodyPr/>
        <a:lstStyle/>
        <a:p>
          <a:pPr>
            <a:buFont typeface="Arial" panose="020B0604020202020204" pitchFamily="34" charset="0"/>
            <a:buChar char="•"/>
          </a:pPr>
          <a:r>
            <a:rPr lang="en-US" b="0" i="0" dirty="0"/>
            <a:t>Used with traditional tables, where data is stored in row-wise format.</a:t>
          </a:r>
          <a:endParaRPr lang="en-US" dirty="0"/>
        </a:p>
      </dgm:t>
    </dgm:pt>
    <dgm:pt modelId="{3C78E4ED-731D-4B81-9653-1750C4ED0E43}" type="parTrans" cxnId="{C269E522-5F3D-45C4-B362-D9BCBB03F989}">
      <dgm:prSet/>
      <dgm:spPr/>
      <dgm:t>
        <a:bodyPr/>
        <a:lstStyle/>
        <a:p>
          <a:endParaRPr lang="en-US"/>
        </a:p>
      </dgm:t>
    </dgm:pt>
    <dgm:pt modelId="{A6F02124-096F-404F-9424-29C4B313BC42}" type="sibTrans" cxnId="{C269E522-5F3D-45C4-B362-D9BCBB03F989}">
      <dgm:prSet/>
      <dgm:spPr/>
      <dgm:t>
        <a:bodyPr/>
        <a:lstStyle/>
        <a:p>
          <a:endParaRPr lang="en-US"/>
        </a:p>
      </dgm:t>
    </dgm:pt>
    <dgm:pt modelId="{07232872-4507-4A00-B0FF-703D7B1BD5ED}">
      <dgm:prSet/>
      <dgm:spPr/>
      <dgm:t>
        <a:bodyPr/>
        <a:lstStyle/>
        <a:p>
          <a:r>
            <a:rPr lang="en-US" b="0" i="0" dirty="0"/>
            <a:t>Starting SQL Server 2019, Batch mode does not require a ColumnStore index as in the previous versions. </a:t>
          </a:r>
          <a:endParaRPr lang="en-US" dirty="0"/>
        </a:p>
      </dgm:t>
    </dgm:pt>
    <dgm:pt modelId="{226BBA94-3137-48C1-B5B1-FB5D185C8BEB}" type="parTrans" cxnId="{8DD8ED02-BB0B-4155-86F4-F07310E8716D}">
      <dgm:prSet/>
      <dgm:spPr/>
      <dgm:t>
        <a:bodyPr/>
        <a:lstStyle/>
        <a:p>
          <a:endParaRPr lang="en-US"/>
        </a:p>
      </dgm:t>
    </dgm:pt>
    <dgm:pt modelId="{F2F30B32-9E85-41B8-AE1A-B7113E5C2406}" type="sibTrans" cxnId="{8DD8ED02-BB0B-4155-86F4-F07310E8716D}">
      <dgm:prSet/>
      <dgm:spPr/>
      <dgm:t>
        <a:bodyPr/>
        <a:lstStyle/>
        <a:p>
          <a:endParaRPr lang="en-US"/>
        </a:p>
      </dgm:t>
    </dgm:pt>
    <dgm:pt modelId="{F382C64E-B7BF-417A-98A9-D7AF85105BA1}" type="pres">
      <dgm:prSet presAssocID="{E523DD64-AB16-4434-8C6C-63B100AD8622}" presName="Name0" presStyleCnt="0">
        <dgm:presLayoutVars>
          <dgm:dir/>
          <dgm:animLvl val="lvl"/>
          <dgm:resizeHandles val="exact"/>
        </dgm:presLayoutVars>
      </dgm:prSet>
      <dgm:spPr/>
    </dgm:pt>
    <dgm:pt modelId="{05196067-32F7-437E-8B1C-098781804F09}" type="pres">
      <dgm:prSet presAssocID="{800B82AE-FE5E-45A3-9842-8FCD742E8ACF}" presName="composite" presStyleCnt="0"/>
      <dgm:spPr/>
    </dgm:pt>
    <dgm:pt modelId="{928BB729-5FAF-4FDC-8763-0EC7070DA586}" type="pres">
      <dgm:prSet presAssocID="{800B82AE-FE5E-45A3-9842-8FCD742E8ACF}" presName="parTx" presStyleLbl="alignNode1" presStyleIdx="0" presStyleCnt="2">
        <dgm:presLayoutVars>
          <dgm:chMax val="0"/>
          <dgm:chPref val="0"/>
          <dgm:bulletEnabled val="1"/>
        </dgm:presLayoutVars>
      </dgm:prSet>
      <dgm:spPr/>
    </dgm:pt>
    <dgm:pt modelId="{CEAF6B90-0D08-4139-8A68-D903CFB5F089}" type="pres">
      <dgm:prSet presAssocID="{800B82AE-FE5E-45A3-9842-8FCD742E8ACF}" presName="desTx" presStyleLbl="alignAccFollowNode1" presStyleIdx="0" presStyleCnt="2">
        <dgm:presLayoutVars>
          <dgm:bulletEnabled val="1"/>
        </dgm:presLayoutVars>
      </dgm:prSet>
      <dgm:spPr/>
    </dgm:pt>
    <dgm:pt modelId="{330BCF7B-2053-4B53-BBE0-059BE43E539C}" type="pres">
      <dgm:prSet presAssocID="{0ACE353A-9CB8-48A6-B72E-2FE15C1B8C45}" presName="space" presStyleCnt="0"/>
      <dgm:spPr/>
    </dgm:pt>
    <dgm:pt modelId="{27E48CCB-9087-4359-A621-691E2EA860B9}" type="pres">
      <dgm:prSet presAssocID="{0814C5F0-9821-403F-8D69-27161441D0FC}" presName="composite" presStyleCnt="0"/>
      <dgm:spPr/>
    </dgm:pt>
    <dgm:pt modelId="{70ECC63C-BB2F-4460-9AB9-B03533F828E3}" type="pres">
      <dgm:prSet presAssocID="{0814C5F0-9821-403F-8D69-27161441D0FC}" presName="parTx" presStyleLbl="alignNode1" presStyleIdx="1" presStyleCnt="2">
        <dgm:presLayoutVars>
          <dgm:chMax val="0"/>
          <dgm:chPref val="0"/>
          <dgm:bulletEnabled val="1"/>
        </dgm:presLayoutVars>
      </dgm:prSet>
      <dgm:spPr/>
    </dgm:pt>
    <dgm:pt modelId="{7DEF81B7-7B1F-432A-95D0-EB9FB294D1B8}" type="pres">
      <dgm:prSet presAssocID="{0814C5F0-9821-403F-8D69-27161441D0FC}" presName="desTx" presStyleLbl="alignAccFollowNode1" presStyleIdx="1" presStyleCnt="2">
        <dgm:presLayoutVars>
          <dgm:bulletEnabled val="1"/>
        </dgm:presLayoutVars>
      </dgm:prSet>
      <dgm:spPr/>
    </dgm:pt>
  </dgm:ptLst>
  <dgm:cxnLst>
    <dgm:cxn modelId="{752C0A00-0A0E-46AA-AD3C-26EF02A5FFC0}" type="presOf" srcId="{BAA5A48F-B375-418F-8FB2-FA7983B46618}" destId="{7DEF81B7-7B1F-432A-95D0-EB9FB294D1B8}" srcOrd="0" destOrd="2" presId="urn:microsoft.com/office/officeart/2005/8/layout/hList1"/>
    <dgm:cxn modelId="{8DD8ED02-BB0B-4155-86F4-F07310E8716D}" srcId="{0814C5F0-9821-403F-8D69-27161441D0FC}" destId="{07232872-4507-4A00-B0FF-703D7B1BD5ED}" srcOrd="4" destOrd="0" parTransId="{226BBA94-3137-48C1-B5B1-FB5D185C8BEB}" sibTransId="{F2F30B32-9E85-41B8-AE1A-B7113E5C2406}"/>
    <dgm:cxn modelId="{C269E522-5F3D-45C4-B362-D9BCBB03F989}" srcId="{800B82AE-FE5E-45A3-9842-8FCD742E8ACF}" destId="{D06D06FA-7F21-40F3-A979-AD0EAA4142A3}" srcOrd="1" destOrd="0" parTransId="{3C78E4ED-731D-4B81-9653-1750C4ED0E43}" sibTransId="{A6F02124-096F-404F-9424-29C4B313BC42}"/>
    <dgm:cxn modelId="{ED63B32F-7A67-4591-892B-3D561E795012}" type="presOf" srcId="{447EECC4-3FD8-4E7E-8822-475250EB35B4}" destId="{CEAF6B90-0D08-4139-8A68-D903CFB5F089}" srcOrd="0" destOrd="2" presId="urn:microsoft.com/office/officeart/2005/8/layout/hList1"/>
    <dgm:cxn modelId="{9643013B-EC5A-4E4A-ADB2-988F4AA5DD5B}" type="presOf" srcId="{800B82AE-FE5E-45A3-9842-8FCD742E8ACF}" destId="{928BB729-5FAF-4FDC-8763-0EC7070DA586}" srcOrd="0" destOrd="0" presId="urn:microsoft.com/office/officeart/2005/8/layout/hList1"/>
    <dgm:cxn modelId="{D396D73B-EA4D-4CF9-B435-73D79E646740}" type="presOf" srcId="{D06D06FA-7F21-40F3-A979-AD0EAA4142A3}" destId="{CEAF6B90-0D08-4139-8A68-D903CFB5F089}" srcOrd="0" destOrd="1" presId="urn:microsoft.com/office/officeart/2005/8/layout/hList1"/>
    <dgm:cxn modelId="{6E3FE068-9775-49D9-B1EB-4A33932CDB70}" type="presOf" srcId="{0814C5F0-9821-403F-8D69-27161441D0FC}" destId="{70ECC63C-BB2F-4460-9AB9-B03533F828E3}" srcOrd="0" destOrd="0" presId="urn:microsoft.com/office/officeart/2005/8/layout/hList1"/>
    <dgm:cxn modelId="{1ACC604C-16D7-46D3-96B6-1BF2A58FA78E}" srcId="{E523DD64-AB16-4434-8C6C-63B100AD8622}" destId="{800B82AE-FE5E-45A3-9842-8FCD742E8ACF}" srcOrd="0" destOrd="0" parTransId="{254D225E-D992-4641-A00B-9443EC72E75E}" sibTransId="{0ACE353A-9CB8-48A6-B72E-2FE15C1B8C45}"/>
    <dgm:cxn modelId="{F669DE6E-E884-4BD3-9846-C3B730967431}" type="presOf" srcId="{E523DD64-AB16-4434-8C6C-63B100AD8622}" destId="{F382C64E-B7BF-417A-98A9-D7AF85105BA1}" srcOrd="0" destOrd="0" presId="urn:microsoft.com/office/officeart/2005/8/layout/hList1"/>
    <dgm:cxn modelId="{9425544F-CD6C-4043-83E1-DCDB23328D48}" srcId="{0814C5F0-9821-403F-8D69-27161441D0FC}" destId="{BAA5A48F-B375-418F-8FB2-FA7983B46618}" srcOrd="2" destOrd="0" parTransId="{0CA5345F-A72B-4A27-A938-93A2B2989378}" sibTransId="{FA4E3840-5D9B-4E89-87A9-977ABE29280D}"/>
    <dgm:cxn modelId="{04C63F55-0FAD-48E6-A262-BA721FAFB298}" type="presOf" srcId="{17636B08-BA29-45B5-983E-2FEB426F654F}" destId="{7DEF81B7-7B1F-432A-95D0-EB9FB294D1B8}" srcOrd="0" destOrd="0" presId="urn:microsoft.com/office/officeart/2005/8/layout/hList1"/>
    <dgm:cxn modelId="{AA488F84-EA92-4C9D-9EE0-459F4FEA4F34}" type="presOf" srcId="{07232872-4507-4A00-B0FF-703D7B1BD5ED}" destId="{7DEF81B7-7B1F-432A-95D0-EB9FB294D1B8}" srcOrd="0" destOrd="4" presId="urn:microsoft.com/office/officeart/2005/8/layout/hList1"/>
    <dgm:cxn modelId="{8F85D785-74BF-4E71-BF23-408A4EC6FDDA}" srcId="{800B82AE-FE5E-45A3-9842-8FCD742E8ACF}" destId="{447EECC4-3FD8-4E7E-8822-475250EB35B4}" srcOrd="2" destOrd="0" parTransId="{4425527D-0A44-4B2A-A44D-B7D60BA942C5}" sibTransId="{4836C47B-BC6E-41BD-B2A8-87C7AD7F01E0}"/>
    <dgm:cxn modelId="{758943A1-A3BA-449F-8051-A14BA2FAD2CB}" srcId="{E523DD64-AB16-4434-8C6C-63B100AD8622}" destId="{0814C5F0-9821-403F-8D69-27161441D0FC}" srcOrd="1" destOrd="0" parTransId="{C26D88FA-3E84-4208-A95A-A3BA54C7A16C}" sibTransId="{CC02D201-680E-4205-BEFA-758ADAFFC78C}"/>
    <dgm:cxn modelId="{506B8DB1-82C0-4E91-A8A2-C408ADECE3BB}" srcId="{0814C5F0-9821-403F-8D69-27161441D0FC}" destId="{17636B08-BA29-45B5-983E-2FEB426F654F}" srcOrd="0" destOrd="0" parTransId="{8E83074B-E922-4C0B-B052-29BB1206AC9D}" sibTransId="{9A50A0C5-9832-4716-81D2-88E94588C4D2}"/>
    <dgm:cxn modelId="{759705BC-BF6C-4418-8985-4ED51C459DD6}" type="presOf" srcId="{43FB6299-B685-4F26-8C58-B151446F88A5}" destId="{7DEF81B7-7B1F-432A-95D0-EB9FB294D1B8}" srcOrd="0" destOrd="1" presId="urn:microsoft.com/office/officeart/2005/8/layout/hList1"/>
    <dgm:cxn modelId="{078755BC-47AD-4ED9-835A-892B304F8EB5}" srcId="{800B82AE-FE5E-45A3-9842-8FCD742E8ACF}" destId="{9EF74FB6-53B1-4ACE-9B92-3AEB68ECE854}" srcOrd="0" destOrd="0" parTransId="{BE1B52FA-E11D-4D00-81ED-CE2B989C5689}" sibTransId="{8A9A65C7-11A4-41A1-BE54-D31E2E8DFACB}"/>
    <dgm:cxn modelId="{239E45CF-9F58-46D2-99AF-7A4CBA84D548}" srcId="{0814C5F0-9821-403F-8D69-27161441D0FC}" destId="{43FB6299-B685-4F26-8C58-B151446F88A5}" srcOrd="1" destOrd="0" parTransId="{121E9758-DD7D-4FEB-B260-9A68E27C628C}" sibTransId="{5F3876D5-FC89-4DD9-8B7B-976E2B94CD54}"/>
    <dgm:cxn modelId="{F6CC10D5-7362-4AAD-8581-442923527BE4}" srcId="{0814C5F0-9821-403F-8D69-27161441D0FC}" destId="{C11B7BF4-0C80-474E-A3DF-A0CC969BF58B}" srcOrd="3" destOrd="0" parTransId="{5D3D4C41-E0A9-4DC0-BDF5-9A8A4491AC6B}" sibTransId="{E4312FA7-54F4-4792-8734-C32698A29C91}"/>
    <dgm:cxn modelId="{5693A1F3-3A64-44E7-8B10-3D28606A535F}" type="presOf" srcId="{9EF74FB6-53B1-4ACE-9B92-3AEB68ECE854}" destId="{CEAF6B90-0D08-4139-8A68-D903CFB5F089}" srcOrd="0" destOrd="0" presId="urn:microsoft.com/office/officeart/2005/8/layout/hList1"/>
    <dgm:cxn modelId="{A21753F5-FCF8-4216-B5AB-62F4BD41DD9D}" type="presOf" srcId="{C11B7BF4-0C80-474E-A3DF-A0CC969BF58B}" destId="{7DEF81B7-7B1F-432A-95D0-EB9FB294D1B8}" srcOrd="0" destOrd="3" presId="urn:microsoft.com/office/officeart/2005/8/layout/hList1"/>
    <dgm:cxn modelId="{EA97CE34-3B04-4B8C-9DD7-333C2FA07EB1}" type="presParOf" srcId="{F382C64E-B7BF-417A-98A9-D7AF85105BA1}" destId="{05196067-32F7-437E-8B1C-098781804F09}" srcOrd="0" destOrd="0" presId="urn:microsoft.com/office/officeart/2005/8/layout/hList1"/>
    <dgm:cxn modelId="{1B7F0200-DA59-4852-9D46-E8677023CD53}" type="presParOf" srcId="{05196067-32F7-437E-8B1C-098781804F09}" destId="{928BB729-5FAF-4FDC-8763-0EC7070DA586}" srcOrd="0" destOrd="0" presId="urn:microsoft.com/office/officeart/2005/8/layout/hList1"/>
    <dgm:cxn modelId="{C119A246-340E-44BC-B836-98EE005B5221}" type="presParOf" srcId="{05196067-32F7-437E-8B1C-098781804F09}" destId="{CEAF6B90-0D08-4139-8A68-D903CFB5F089}" srcOrd="1" destOrd="0" presId="urn:microsoft.com/office/officeart/2005/8/layout/hList1"/>
    <dgm:cxn modelId="{D31AF472-9DAD-4786-B580-94F945A9DECB}" type="presParOf" srcId="{F382C64E-B7BF-417A-98A9-D7AF85105BA1}" destId="{330BCF7B-2053-4B53-BBE0-059BE43E539C}" srcOrd="1" destOrd="0" presId="urn:microsoft.com/office/officeart/2005/8/layout/hList1"/>
    <dgm:cxn modelId="{4CDCAEFF-9F64-484A-90FE-BB7541109DB8}" type="presParOf" srcId="{F382C64E-B7BF-417A-98A9-D7AF85105BA1}" destId="{27E48CCB-9087-4359-A621-691E2EA860B9}" srcOrd="2" destOrd="0" presId="urn:microsoft.com/office/officeart/2005/8/layout/hList1"/>
    <dgm:cxn modelId="{9D525760-D708-48E7-8D83-48E36D686802}" type="presParOf" srcId="{27E48CCB-9087-4359-A621-691E2EA860B9}" destId="{70ECC63C-BB2F-4460-9AB9-B03533F828E3}" srcOrd="0" destOrd="0" presId="urn:microsoft.com/office/officeart/2005/8/layout/hList1"/>
    <dgm:cxn modelId="{B15095D6-A327-4E37-B4D6-C5A8A9751A30}" type="presParOf" srcId="{27E48CCB-9087-4359-A621-691E2EA860B9}" destId="{7DEF81B7-7B1F-432A-95D0-EB9FB294D1B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D9B447D-F1E8-41F3-A54F-4A25D3615A4F}" type="doc">
      <dgm:prSet loTypeId="urn:microsoft.com/office/officeart/2005/8/layout/orgChart1" loCatId="hierarchy" qsTypeId="urn:microsoft.com/office/officeart/2005/8/quickstyle/simple1" qsCatId="simple" csTypeId="urn:microsoft.com/office/officeart/2005/8/colors/colorful4" csCatId="colorful" phldr="1"/>
      <dgm:spPr/>
      <dgm:t>
        <a:bodyPr/>
        <a:lstStyle/>
        <a:p>
          <a:endParaRPr lang="pt-PT"/>
        </a:p>
      </dgm:t>
    </dgm:pt>
    <dgm:pt modelId="{35AEFCA7-E8E3-4361-A5F1-A83FE7922FE1}">
      <dgm:prSet phldrT="[Text]" custT="1"/>
      <dgm:spPr>
        <a:xfrm>
          <a:off x="2875855" y="1038845"/>
          <a:ext cx="2376289" cy="1188144"/>
        </a:xfrm>
        <a:solidFill>
          <a:srgbClr val="0E715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317E66B7-FBB8-42D1-88CB-48F75EB30F30}" type="parTrans" cxnId="{60596682-1BA5-4030-A49B-01AFDA02185C}">
      <dgm:prSet/>
      <dgm:spPr/>
      <dgm:t>
        <a:bodyPr/>
        <a:lstStyle/>
        <a:p>
          <a:endParaRPr lang="pt-PT"/>
        </a:p>
      </dgm:t>
    </dgm:pt>
    <dgm:pt modelId="{D52EF789-2101-44FA-8855-3582CBE1FAF6}" type="sibTrans" cxnId="{60596682-1BA5-4030-A49B-01AFDA02185C}">
      <dgm:prSet/>
      <dgm:spPr/>
      <dgm:t>
        <a:bodyPr/>
        <a:lstStyle/>
        <a:p>
          <a:endParaRPr lang="pt-PT"/>
        </a:p>
      </dgm:t>
    </dgm:pt>
    <dgm:pt modelId="{FD6F40A2-AD4C-4424-86A7-23B3305FBF34}">
      <dgm:prSet phldrT="[Text]" custT="1"/>
      <dgm:spPr>
        <a:xfrm>
          <a:off x="54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2</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xy’</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Jorge</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40994B2B-E312-454C-A7A9-91DB8CD3C737}" type="parTrans" cxnId="{969CF005-3E04-4789-BCEA-1CA6B073357B}">
      <dgm:prSet/>
      <dgm:spPr>
        <a:xfrm>
          <a:off x="118869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385BDEF7-42E9-4207-A77D-8E15A7270402}" type="sibTrans" cxnId="{969CF005-3E04-4789-BCEA-1CA6B073357B}">
      <dgm:prSet/>
      <dgm:spPr/>
      <dgm:t>
        <a:bodyPr/>
        <a:lstStyle/>
        <a:p>
          <a:endParaRPr lang="pt-PT"/>
        </a:p>
      </dgm:t>
    </dgm:pt>
    <dgm:pt modelId="{1D2661D7-5CD9-460E-B4C8-3EA3CBD593FA}">
      <dgm:prSet phldrT="[Text]" custT="1"/>
      <dgm:spPr>
        <a:xfrm>
          <a:off x="287585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Nabil</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13187C6-5C6D-4A38-9309-B0A2B17799C0}" type="parTrans" cxnId="{F5689346-0DCC-4975-8577-E9F1FB5371EB}">
      <dgm:prSet/>
      <dgm:spPr>
        <a:xfrm>
          <a:off x="4018280" y="2226989"/>
          <a:ext cx="91440" cy="499020"/>
        </a:xfrm>
        <a:noFill/>
        <a:ln w="25400" cap="flat" cmpd="sng" algn="ctr">
          <a:solidFill>
            <a:srgbClr val="0C6126">
              <a:hueOff val="0"/>
              <a:satOff val="0"/>
              <a:lumOff val="0"/>
              <a:alphaOff val="0"/>
            </a:srgbClr>
          </a:solidFill>
          <a:prstDash val="solid"/>
        </a:ln>
        <a:effectLst/>
      </dgm:spPr>
      <dgm:t>
        <a:bodyPr/>
        <a:lstStyle/>
        <a:p>
          <a:endParaRPr lang="pt-PT"/>
        </a:p>
      </dgm:t>
    </dgm:pt>
    <dgm:pt modelId="{2B8DF214-514D-4157-9709-59EDAB7A0BAB}" type="sibTrans" cxnId="{F5689346-0DCC-4975-8577-E9F1FB5371EB}">
      <dgm:prSet/>
      <dgm:spPr/>
      <dgm:t>
        <a:bodyPr/>
        <a:lstStyle/>
        <a:p>
          <a:endParaRPr lang="pt-PT"/>
        </a:p>
      </dgm:t>
    </dgm:pt>
    <dgm:pt modelId="{B875AD68-D393-4724-8542-A3BF1EC3C924}">
      <dgm:prSet phldrT="[Text]" custT="1"/>
      <dgm:spPr>
        <a:xfrm>
          <a:off x="575116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1</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sd’</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Walter</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C7DB2EE-4266-4406-842A-922AB0175793}" type="parTrans" cxnId="{06045EB8-B4E3-4262-8BC3-3A32656907B6}">
      <dgm:prSet/>
      <dgm:spPr>
        <a:xfrm>
          <a:off x="406400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A24AC74F-9A2B-4B33-B028-DB4B7CF03AE3}" type="sibTrans" cxnId="{06045EB8-B4E3-4262-8BC3-3A32656907B6}">
      <dgm:prSet/>
      <dgm:spPr/>
      <dgm:t>
        <a:bodyPr/>
        <a:lstStyle/>
        <a:p>
          <a:endParaRPr lang="pt-PT"/>
        </a:p>
      </dgm:t>
    </dgm:pt>
    <dgm:pt modelId="{0F880BB6-86DD-46EC-B922-BD1F339A4D23}" type="pres">
      <dgm:prSet presAssocID="{4D9B447D-F1E8-41F3-A54F-4A25D3615A4F}" presName="hierChild1" presStyleCnt="0">
        <dgm:presLayoutVars>
          <dgm:orgChart val="1"/>
          <dgm:chPref val="1"/>
          <dgm:dir/>
          <dgm:animOne val="branch"/>
          <dgm:animLvl val="lvl"/>
          <dgm:resizeHandles/>
        </dgm:presLayoutVars>
      </dgm:prSet>
      <dgm:spPr/>
    </dgm:pt>
    <dgm:pt modelId="{721CCBA3-8F50-42EF-8AD3-9A150604F3F7}" type="pres">
      <dgm:prSet presAssocID="{35AEFCA7-E8E3-4361-A5F1-A83FE7922FE1}" presName="hierRoot1" presStyleCnt="0">
        <dgm:presLayoutVars>
          <dgm:hierBranch val="init"/>
        </dgm:presLayoutVars>
      </dgm:prSet>
      <dgm:spPr/>
    </dgm:pt>
    <dgm:pt modelId="{25BAF2DB-F994-4ED0-9F3D-B4BF78558E68}" type="pres">
      <dgm:prSet presAssocID="{35AEFCA7-E8E3-4361-A5F1-A83FE7922FE1}" presName="rootComposite1" presStyleCnt="0"/>
      <dgm:spPr/>
    </dgm:pt>
    <dgm:pt modelId="{24D229AC-5C13-45F1-A5D1-6AEA78085079}" type="pres">
      <dgm:prSet presAssocID="{35AEFCA7-E8E3-4361-A5F1-A83FE7922FE1}" presName="rootText1" presStyleLbl="node0" presStyleIdx="0" presStyleCnt="1">
        <dgm:presLayoutVars>
          <dgm:chPref val="3"/>
        </dgm:presLayoutVars>
      </dgm:prSet>
      <dgm:spPr/>
    </dgm:pt>
    <dgm:pt modelId="{C7553A6A-D32B-48E7-B854-20605397C6E0}" type="pres">
      <dgm:prSet presAssocID="{35AEFCA7-E8E3-4361-A5F1-A83FE7922FE1}" presName="rootConnector1" presStyleLbl="node1" presStyleIdx="0" presStyleCnt="0"/>
      <dgm:spPr/>
    </dgm:pt>
    <dgm:pt modelId="{83A4E19F-6669-487D-AC60-954B77610BD3}" type="pres">
      <dgm:prSet presAssocID="{35AEFCA7-E8E3-4361-A5F1-A83FE7922FE1}" presName="hierChild2" presStyleCnt="0"/>
      <dgm:spPr/>
    </dgm:pt>
    <dgm:pt modelId="{FA7E2455-E11D-41BF-A377-31974C3C9CFF}" type="pres">
      <dgm:prSet presAssocID="{40994B2B-E312-454C-A7A9-91DB8CD3C737}" presName="Name37" presStyleLbl="parChTrans1D2" presStyleIdx="0" presStyleCnt="3"/>
      <dgm:spPr/>
    </dgm:pt>
    <dgm:pt modelId="{F24E37AD-28D4-4362-A0CC-1DF982197EE7}" type="pres">
      <dgm:prSet presAssocID="{FD6F40A2-AD4C-4424-86A7-23B3305FBF34}" presName="hierRoot2" presStyleCnt="0">
        <dgm:presLayoutVars>
          <dgm:hierBranch val="init"/>
        </dgm:presLayoutVars>
      </dgm:prSet>
      <dgm:spPr/>
    </dgm:pt>
    <dgm:pt modelId="{F0AB9A95-555C-4815-9E19-A12BCBFA9E76}" type="pres">
      <dgm:prSet presAssocID="{FD6F40A2-AD4C-4424-86A7-23B3305FBF34}" presName="rootComposite" presStyleCnt="0"/>
      <dgm:spPr/>
    </dgm:pt>
    <dgm:pt modelId="{B9F78752-7D17-4C5F-80DC-021D7028CDDA}" type="pres">
      <dgm:prSet presAssocID="{FD6F40A2-AD4C-4424-86A7-23B3305FBF34}" presName="rootText" presStyleLbl="node2" presStyleIdx="0" presStyleCnt="3">
        <dgm:presLayoutVars>
          <dgm:chPref val="3"/>
        </dgm:presLayoutVars>
      </dgm:prSet>
      <dgm:spPr/>
    </dgm:pt>
    <dgm:pt modelId="{11EBE3AD-64DA-43A3-878D-B4454A48861D}" type="pres">
      <dgm:prSet presAssocID="{FD6F40A2-AD4C-4424-86A7-23B3305FBF34}" presName="rootConnector" presStyleLbl="node2" presStyleIdx="0" presStyleCnt="3"/>
      <dgm:spPr/>
    </dgm:pt>
    <dgm:pt modelId="{B3059B29-8E1E-43E7-892A-CFF926FE3056}" type="pres">
      <dgm:prSet presAssocID="{FD6F40A2-AD4C-4424-86A7-23B3305FBF34}" presName="hierChild4" presStyleCnt="0"/>
      <dgm:spPr/>
    </dgm:pt>
    <dgm:pt modelId="{9707A965-EDD7-4CEE-BD45-F1A3E9B54C53}" type="pres">
      <dgm:prSet presAssocID="{FD6F40A2-AD4C-4424-86A7-23B3305FBF34}" presName="hierChild5" presStyleCnt="0"/>
      <dgm:spPr/>
    </dgm:pt>
    <dgm:pt modelId="{7A7AE8A4-D57B-4FC0-BB20-18486A0B1EF2}" type="pres">
      <dgm:prSet presAssocID="{B13187C6-5C6D-4A38-9309-B0A2B17799C0}" presName="Name37" presStyleLbl="parChTrans1D2" presStyleIdx="1" presStyleCnt="3"/>
      <dgm:spPr/>
    </dgm:pt>
    <dgm:pt modelId="{855803DC-6A54-420A-A770-7A796B140243}" type="pres">
      <dgm:prSet presAssocID="{1D2661D7-5CD9-460E-B4C8-3EA3CBD593FA}" presName="hierRoot2" presStyleCnt="0">
        <dgm:presLayoutVars>
          <dgm:hierBranch val="init"/>
        </dgm:presLayoutVars>
      </dgm:prSet>
      <dgm:spPr/>
    </dgm:pt>
    <dgm:pt modelId="{52E3AA60-6270-4D8C-84F8-17F710930986}" type="pres">
      <dgm:prSet presAssocID="{1D2661D7-5CD9-460E-B4C8-3EA3CBD593FA}" presName="rootComposite" presStyleCnt="0"/>
      <dgm:spPr/>
    </dgm:pt>
    <dgm:pt modelId="{D9C63EA9-4D2D-40C4-A131-5A603665E439}" type="pres">
      <dgm:prSet presAssocID="{1D2661D7-5CD9-460E-B4C8-3EA3CBD593FA}" presName="rootText" presStyleLbl="node2" presStyleIdx="1" presStyleCnt="3">
        <dgm:presLayoutVars>
          <dgm:chPref val="3"/>
        </dgm:presLayoutVars>
      </dgm:prSet>
      <dgm:spPr/>
    </dgm:pt>
    <dgm:pt modelId="{3771A272-3A56-481B-8FAF-590CF3CBF282}" type="pres">
      <dgm:prSet presAssocID="{1D2661D7-5CD9-460E-B4C8-3EA3CBD593FA}" presName="rootConnector" presStyleLbl="node2" presStyleIdx="1" presStyleCnt="3"/>
      <dgm:spPr/>
    </dgm:pt>
    <dgm:pt modelId="{39A28C8A-EB0F-4A54-B496-DC268045594B}" type="pres">
      <dgm:prSet presAssocID="{1D2661D7-5CD9-460E-B4C8-3EA3CBD593FA}" presName="hierChild4" presStyleCnt="0"/>
      <dgm:spPr/>
    </dgm:pt>
    <dgm:pt modelId="{D8CB5503-FFE4-4013-B684-40601DC2999B}" type="pres">
      <dgm:prSet presAssocID="{1D2661D7-5CD9-460E-B4C8-3EA3CBD593FA}" presName="hierChild5" presStyleCnt="0"/>
      <dgm:spPr/>
    </dgm:pt>
    <dgm:pt modelId="{7172C154-C68A-43EC-8D95-63277D421833}" type="pres">
      <dgm:prSet presAssocID="{BC7DB2EE-4266-4406-842A-922AB0175793}" presName="Name37" presStyleLbl="parChTrans1D2" presStyleIdx="2" presStyleCnt="3"/>
      <dgm:spPr/>
    </dgm:pt>
    <dgm:pt modelId="{03422BC2-6A5D-4E49-AFAA-056C389BF070}" type="pres">
      <dgm:prSet presAssocID="{B875AD68-D393-4724-8542-A3BF1EC3C924}" presName="hierRoot2" presStyleCnt="0">
        <dgm:presLayoutVars>
          <dgm:hierBranch val="init"/>
        </dgm:presLayoutVars>
      </dgm:prSet>
      <dgm:spPr/>
    </dgm:pt>
    <dgm:pt modelId="{0B816678-65A2-4386-BDC2-80F48BADC474}" type="pres">
      <dgm:prSet presAssocID="{B875AD68-D393-4724-8542-A3BF1EC3C924}" presName="rootComposite" presStyleCnt="0"/>
      <dgm:spPr/>
    </dgm:pt>
    <dgm:pt modelId="{CDFF83E9-5A77-42A5-84AE-924C54B5E10B}" type="pres">
      <dgm:prSet presAssocID="{B875AD68-D393-4724-8542-A3BF1EC3C924}" presName="rootText" presStyleLbl="node2" presStyleIdx="2" presStyleCnt="3">
        <dgm:presLayoutVars>
          <dgm:chPref val="3"/>
        </dgm:presLayoutVars>
      </dgm:prSet>
      <dgm:spPr/>
    </dgm:pt>
    <dgm:pt modelId="{C64991D6-85B3-46A6-B787-D645C84965BE}" type="pres">
      <dgm:prSet presAssocID="{B875AD68-D393-4724-8542-A3BF1EC3C924}" presName="rootConnector" presStyleLbl="node2" presStyleIdx="2" presStyleCnt="3"/>
      <dgm:spPr/>
    </dgm:pt>
    <dgm:pt modelId="{AC88EA00-1EB5-41AA-A05A-D69EA9E91FBA}" type="pres">
      <dgm:prSet presAssocID="{B875AD68-D393-4724-8542-A3BF1EC3C924}" presName="hierChild4" presStyleCnt="0"/>
      <dgm:spPr/>
    </dgm:pt>
    <dgm:pt modelId="{782F0D9C-4FA2-40A3-93EB-4EBF6EEAB4CE}" type="pres">
      <dgm:prSet presAssocID="{B875AD68-D393-4724-8542-A3BF1EC3C924}" presName="hierChild5" presStyleCnt="0"/>
      <dgm:spPr/>
    </dgm:pt>
    <dgm:pt modelId="{27A47A7B-9572-46FE-9401-95126CD7498A}" type="pres">
      <dgm:prSet presAssocID="{35AEFCA7-E8E3-4361-A5F1-A83FE7922FE1}" presName="hierChild3" presStyleCnt="0"/>
      <dgm:spPr/>
    </dgm:pt>
  </dgm:ptLst>
  <dgm:cxnLst>
    <dgm:cxn modelId="{969CF005-3E04-4789-BCEA-1CA6B073357B}" srcId="{35AEFCA7-E8E3-4361-A5F1-A83FE7922FE1}" destId="{FD6F40A2-AD4C-4424-86A7-23B3305FBF34}" srcOrd="0" destOrd="0" parTransId="{40994B2B-E312-454C-A7A9-91DB8CD3C737}" sibTransId="{385BDEF7-42E9-4207-A77D-8E15A7270402}"/>
    <dgm:cxn modelId="{66DE0F36-8E8D-40E0-81F6-F3C821E0D068}" type="presOf" srcId="{35AEFCA7-E8E3-4361-A5F1-A83FE7922FE1}" destId="{24D229AC-5C13-45F1-A5D1-6AEA78085079}" srcOrd="0" destOrd="0" presId="urn:microsoft.com/office/officeart/2005/8/layout/orgChart1"/>
    <dgm:cxn modelId="{489A245D-FCE4-4CDF-ADC3-0C3AB35537D6}" type="presOf" srcId="{FD6F40A2-AD4C-4424-86A7-23B3305FBF34}" destId="{11EBE3AD-64DA-43A3-878D-B4454A48861D}" srcOrd="1" destOrd="0" presId="urn:microsoft.com/office/officeart/2005/8/layout/orgChart1"/>
    <dgm:cxn modelId="{5AF69763-7AA2-4D38-A93D-840F3369970F}" type="presOf" srcId="{40994B2B-E312-454C-A7A9-91DB8CD3C737}" destId="{FA7E2455-E11D-41BF-A377-31974C3C9CFF}" srcOrd="0" destOrd="0" presId="urn:microsoft.com/office/officeart/2005/8/layout/orgChart1"/>
    <dgm:cxn modelId="{508B3746-5309-4FD7-AC71-A614D268E5BB}" type="presOf" srcId="{1D2661D7-5CD9-460E-B4C8-3EA3CBD593FA}" destId="{D9C63EA9-4D2D-40C4-A131-5A603665E439}" srcOrd="0" destOrd="0" presId="urn:microsoft.com/office/officeart/2005/8/layout/orgChart1"/>
    <dgm:cxn modelId="{F5689346-0DCC-4975-8577-E9F1FB5371EB}" srcId="{35AEFCA7-E8E3-4361-A5F1-A83FE7922FE1}" destId="{1D2661D7-5CD9-460E-B4C8-3EA3CBD593FA}" srcOrd="1" destOrd="0" parTransId="{B13187C6-5C6D-4A38-9309-B0A2B17799C0}" sibTransId="{2B8DF214-514D-4157-9709-59EDAB7A0BAB}"/>
    <dgm:cxn modelId="{D330654A-D9CA-47DA-BAE8-AB35A9933D2E}" type="presOf" srcId="{35AEFCA7-E8E3-4361-A5F1-A83FE7922FE1}" destId="{C7553A6A-D32B-48E7-B854-20605397C6E0}" srcOrd="1" destOrd="0" presId="urn:microsoft.com/office/officeart/2005/8/layout/orgChart1"/>
    <dgm:cxn modelId="{A0CFBF6B-63C0-41B9-A086-F5CD29CCA59A}" type="presOf" srcId="{FD6F40A2-AD4C-4424-86A7-23B3305FBF34}" destId="{B9F78752-7D17-4C5F-80DC-021D7028CDDA}" srcOrd="0" destOrd="0" presId="urn:microsoft.com/office/officeart/2005/8/layout/orgChart1"/>
    <dgm:cxn modelId="{D39E0654-3D9E-4327-8426-B3BC4A49CAB7}" type="presOf" srcId="{B13187C6-5C6D-4A38-9309-B0A2B17799C0}" destId="{7A7AE8A4-D57B-4FC0-BB20-18486A0B1EF2}" srcOrd="0" destOrd="0" presId="urn:microsoft.com/office/officeart/2005/8/layout/orgChart1"/>
    <dgm:cxn modelId="{60596682-1BA5-4030-A49B-01AFDA02185C}" srcId="{4D9B447D-F1E8-41F3-A54F-4A25D3615A4F}" destId="{35AEFCA7-E8E3-4361-A5F1-A83FE7922FE1}" srcOrd="0" destOrd="0" parTransId="{317E66B7-FBB8-42D1-88CB-48F75EB30F30}" sibTransId="{D52EF789-2101-44FA-8855-3582CBE1FAF6}"/>
    <dgm:cxn modelId="{A5905F84-68AF-4E2E-B564-17C49EDC4E97}" type="presOf" srcId="{4D9B447D-F1E8-41F3-A54F-4A25D3615A4F}" destId="{0F880BB6-86DD-46EC-B922-BD1F339A4D23}" srcOrd="0" destOrd="0" presId="urn:microsoft.com/office/officeart/2005/8/layout/orgChart1"/>
    <dgm:cxn modelId="{615DC2A8-1859-47FA-BC31-06C298C53A40}" type="presOf" srcId="{BC7DB2EE-4266-4406-842A-922AB0175793}" destId="{7172C154-C68A-43EC-8D95-63277D421833}" srcOrd="0" destOrd="0" presId="urn:microsoft.com/office/officeart/2005/8/layout/orgChart1"/>
    <dgm:cxn modelId="{06045EB8-B4E3-4262-8BC3-3A32656907B6}" srcId="{35AEFCA7-E8E3-4361-A5F1-A83FE7922FE1}" destId="{B875AD68-D393-4724-8542-A3BF1EC3C924}" srcOrd="2" destOrd="0" parTransId="{BC7DB2EE-4266-4406-842A-922AB0175793}" sibTransId="{A24AC74F-9A2B-4B33-B028-DB4B7CF03AE3}"/>
    <dgm:cxn modelId="{3BB3D9B8-C6FC-43A6-9007-6717CAFEB474}" type="presOf" srcId="{1D2661D7-5CD9-460E-B4C8-3EA3CBD593FA}" destId="{3771A272-3A56-481B-8FAF-590CF3CBF282}" srcOrd="1" destOrd="0" presId="urn:microsoft.com/office/officeart/2005/8/layout/orgChart1"/>
    <dgm:cxn modelId="{16FEFBBD-6421-4EE2-9A84-CBA74620C33F}" type="presOf" srcId="{B875AD68-D393-4724-8542-A3BF1EC3C924}" destId="{CDFF83E9-5A77-42A5-84AE-924C54B5E10B}" srcOrd="0" destOrd="0" presId="urn:microsoft.com/office/officeart/2005/8/layout/orgChart1"/>
    <dgm:cxn modelId="{C505ACFC-A31F-48D2-B352-B5A50F42964A}" type="presOf" srcId="{B875AD68-D393-4724-8542-A3BF1EC3C924}" destId="{C64991D6-85B3-46A6-B787-D645C84965BE}" srcOrd="1" destOrd="0" presId="urn:microsoft.com/office/officeart/2005/8/layout/orgChart1"/>
    <dgm:cxn modelId="{46A8BB3F-6387-42DE-8F06-B6A7D55B98BB}" type="presParOf" srcId="{0F880BB6-86DD-46EC-B922-BD1F339A4D23}" destId="{721CCBA3-8F50-42EF-8AD3-9A150604F3F7}" srcOrd="0" destOrd="0" presId="urn:microsoft.com/office/officeart/2005/8/layout/orgChart1"/>
    <dgm:cxn modelId="{ED04A22A-12B3-4893-9B36-1153836757D8}" type="presParOf" srcId="{721CCBA3-8F50-42EF-8AD3-9A150604F3F7}" destId="{25BAF2DB-F994-4ED0-9F3D-B4BF78558E68}" srcOrd="0" destOrd="0" presId="urn:microsoft.com/office/officeart/2005/8/layout/orgChart1"/>
    <dgm:cxn modelId="{B3C82D9F-C945-4A8E-BEFD-C6D28EE0F251}" type="presParOf" srcId="{25BAF2DB-F994-4ED0-9F3D-B4BF78558E68}" destId="{24D229AC-5C13-45F1-A5D1-6AEA78085079}" srcOrd="0" destOrd="0" presId="urn:microsoft.com/office/officeart/2005/8/layout/orgChart1"/>
    <dgm:cxn modelId="{B17548F8-E273-426B-9D94-0303C55BC128}" type="presParOf" srcId="{25BAF2DB-F994-4ED0-9F3D-B4BF78558E68}" destId="{C7553A6A-D32B-48E7-B854-20605397C6E0}" srcOrd="1" destOrd="0" presId="urn:microsoft.com/office/officeart/2005/8/layout/orgChart1"/>
    <dgm:cxn modelId="{70EB969B-D993-4EAE-A8C6-6D6DA218E646}" type="presParOf" srcId="{721CCBA3-8F50-42EF-8AD3-9A150604F3F7}" destId="{83A4E19F-6669-487D-AC60-954B77610BD3}" srcOrd="1" destOrd="0" presId="urn:microsoft.com/office/officeart/2005/8/layout/orgChart1"/>
    <dgm:cxn modelId="{DD4D5B94-CB69-425B-A68F-2D632F0D5D6A}" type="presParOf" srcId="{83A4E19F-6669-487D-AC60-954B77610BD3}" destId="{FA7E2455-E11D-41BF-A377-31974C3C9CFF}" srcOrd="0" destOrd="0" presId="urn:microsoft.com/office/officeart/2005/8/layout/orgChart1"/>
    <dgm:cxn modelId="{442DE3B6-89A9-4657-9E12-8E5472CA93CA}" type="presParOf" srcId="{83A4E19F-6669-487D-AC60-954B77610BD3}" destId="{F24E37AD-28D4-4362-A0CC-1DF982197EE7}" srcOrd="1" destOrd="0" presId="urn:microsoft.com/office/officeart/2005/8/layout/orgChart1"/>
    <dgm:cxn modelId="{13AD68E1-A22B-4CAB-8192-1DB84940F194}" type="presParOf" srcId="{F24E37AD-28D4-4362-A0CC-1DF982197EE7}" destId="{F0AB9A95-555C-4815-9E19-A12BCBFA9E76}" srcOrd="0" destOrd="0" presId="urn:microsoft.com/office/officeart/2005/8/layout/orgChart1"/>
    <dgm:cxn modelId="{BBF4103B-97FC-44A9-AD7B-D02F1668B041}" type="presParOf" srcId="{F0AB9A95-555C-4815-9E19-A12BCBFA9E76}" destId="{B9F78752-7D17-4C5F-80DC-021D7028CDDA}" srcOrd="0" destOrd="0" presId="urn:microsoft.com/office/officeart/2005/8/layout/orgChart1"/>
    <dgm:cxn modelId="{E025A67B-168A-4C94-BC18-33245FFD8297}" type="presParOf" srcId="{F0AB9A95-555C-4815-9E19-A12BCBFA9E76}" destId="{11EBE3AD-64DA-43A3-878D-B4454A48861D}" srcOrd="1" destOrd="0" presId="urn:microsoft.com/office/officeart/2005/8/layout/orgChart1"/>
    <dgm:cxn modelId="{DB87ABCD-4510-4E76-8B34-F80707386C0C}" type="presParOf" srcId="{F24E37AD-28D4-4362-A0CC-1DF982197EE7}" destId="{B3059B29-8E1E-43E7-892A-CFF926FE3056}" srcOrd="1" destOrd="0" presId="urn:microsoft.com/office/officeart/2005/8/layout/orgChart1"/>
    <dgm:cxn modelId="{69B9D66D-2002-412D-BC7C-EA7D6FF92F79}" type="presParOf" srcId="{F24E37AD-28D4-4362-A0CC-1DF982197EE7}" destId="{9707A965-EDD7-4CEE-BD45-F1A3E9B54C53}" srcOrd="2" destOrd="0" presId="urn:microsoft.com/office/officeart/2005/8/layout/orgChart1"/>
    <dgm:cxn modelId="{C583E531-0867-476E-B86D-7535F099AB69}" type="presParOf" srcId="{83A4E19F-6669-487D-AC60-954B77610BD3}" destId="{7A7AE8A4-D57B-4FC0-BB20-18486A0B1EF2}" srcOrd="2" destOrd="0" presId="urn:microsoft.com/office/officeart/2005/8/layout/orgChart1"/>
    <dgm:cxn modelId="{9C145765-C22E-47CE-B014-2E9E8D5598AD}" type="presParOf" srcId="{83A4E19F-6669-487D-AC60-954B77610BD3}" destId="{855803DC-6A54-420A-A770-7A796B140243}" srcOrd="3" destOrd="0" presId="urn:microsoft.com/office/officeart/2005/8/layout/orgChart1"/>
    <dgm:cxn modelId="{EDE7A932-EDAF-4CF9-AA84-B0F08A984DAB}" type="presParOf" srcId="{855803DC-6A54-420A-A770-7A796B140243}" destId="{52E3AA60-6270-4D8C-84F8-17F710930986}" srcOrd="0" destOrd="0" presId="urn:microsoft.com/office/officeart/2005/8/layout/orgChart1"/>
    <dgm:cxn modelId="{2C3D7461-F17B-42F3-8D14-0391D65FB16C}" type="presParOf" srcId="{52E3AA60-6270-4D8C-84F8-17F710930986}" destId="{D9C63EA9-4D2D-40C4-A131-5A603665E439}" srcOrd="0" destOrd="0" presId="urn:microsoft.com/office/officeart/2005/8/layout/orgChart1"/>
    <dgm:cxn modelId="{F68FEDCB-E190-45B2-9725-EFAC82B9F035}" type="presParOf" srcId="{52E3AA60-6270-4D8C-84F8-17F710930986}" destId="{3771A272-3A56-481B-8FAF-590CF3CBF282}" srcOrd="1" destOrd="0" presId="urn:microsoft.com/office/officeart/2005/8/layout/orgChart1"/>
    <dgm:cxn modelId="{8108BF4E-CEC2-49DD-B369-8F212F709C05}" type="presParOf" srcId="{855803DC-6A54-420A-A770-7A796B140243}" destId="{39A28C8A-EB0F-4A54-B496-DC268045594B}" srcOrd="1" destOrd="0" presId="urn:microsoft.com/office/officeart/2005/8/layout/orgChart1"/>
    <dgm:cxn modelId="{13E18011-CC0B-42FC-887B-F20EE958555E}" type="presParOf" srcId="{855803DC-6A54-420A-A770-7A796B140243}" destId="{D8CB5503-FFE4-4013-B684-40601DC2999B}" srcOrd="2" destOrd="0" presId="urn:microsoft.com/office/officeart/2005/8/layout/orgChart1"/>
    <dgm:cxn modelId="{2FCA7551-B39C-4C30-AD48-5C27FFA0489D}" type="presParOf" srcId="{83A4E19F-6669-487D-AC60-954B77610BD3}" destId="{7172C154-C68A-43EC-8D95-63277D421833}" srcOrd="4" destOrd="0" presId="urn:microsoft.com/office/officeart/2005/8/layout/orgChart1"/>
    <dgm:cxn modelId="{99FAEDB1-1D0C-4912-B2C6-6C03338A1F21}" type="presParOf" srcId="{83A4E19F-6669-487D-AC60-954B77610BD3}" destId="{03422BC2-6A5D-4E49-AFAA-056C389BF070}" srcOrd="5" destOrd="0" presId="urn:microsoft.com/office/officeart/2005/8/layout/orgChart1"/>
    <dgm:cxn modelId="{3926EC4A-D9DB-4FA3-8B03-DAC3FE48A3C7}" type="presParOf" srcId="{03422BC2-6A5D-4E49-AFAA-056C389BF070}" destId="{0B816678-65A2-4386-BDC2-80F48BADC474}" srcOrd="0" destOrd="0" presId="urn:microsoft.com/office/officeart/2005/8/layout/orgChart1"/>
    <dgm:cxn modelId="{FDFFF0F2-EBA0-478F-B8E4-153610319B6D}" type="presParOf" srcId="{0B816678-65A2-4386-BDC2-80F48BADC474}" destId="{CDFF83E9-5A77-42A5-84AE-924C54B5E10B}" srcOrd="0" destOrd="0" presId="urn:microsoft.com/office/officeart/2005/8/layout/orgChart1"/>
    <dgm:cxn modelId="{96F0520A-8233-48E1-94D9-55AB1254F3D6}" type="presParOf" srcId="{0B816678-65A2-4386-BDC2-80F48BADC474}" destId="{C64991D6-85B3-46A6-B787-D645C84965BE}" srcOrd="1" destOrd="0" presId="urn:microsoft.com/office/officeart/2005/8/layout/orgChart1"/>
    <dgm:cxn modelId="{CF49A02C-8A90-4E89-9B52-CCA13F1D98C1}" type="presParOf" srcId="{03422BC2-6A5D-4E49-AFAA-056C389BF070}" destId="{AC88EA00-1EB5-41AA-A05A-D69EA9E91FBA}" srcOrd="1" destOrd="0" presId="urn:microsoft.com/office/officeart/2005/8/layout/orgChart1"/>
    <dgm:cxn modelId="{04697A90-F143-45CD-9867-13633285E678}" type="presParOf" srcId="{03422BC2-6A5D-4E49-AFAA-056C389BF070}" destId="{782F0D9C-4FA2-40A3-93EB-4EBF6EEAB4CE}" srcOrd="2" destOrd="0" presId="urn:microsoft.com/office/officeart/2005/8/layout/orgChart1"/>
    <dgm:cxn modelId="{CBD4CC02-B42B-4617-8AAC-79CB19712D3F}" type="presParOf" srcId="{721CCBA3-8F50-42EF-8AD3-9A150604F3F7}" destId="{27A47A7B-9572-46FE-9401-95126CD7498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7E3456D-6195-4DDD-889F-51619F5D4BFB}"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2638D9CB-D0B2-45D9-AAB3-D1D3E175B31A}">
      <dgm:prSet phldrT="[Text]" custT="1"/>
      <dgm:spPr/>
      <dgm:t>
        <a:bodyPr/>
        <a:lstStyle/>
        <a:p>
          <a:r>
            <a:rPr lang="en-US" sz="2400" dirty="0"/>
            <a:t>The </a:t>
          </a:r>
          <a:r>
            <a:rPr lang="en-US" sz="2400" b="1" dirty="0"/>
            <a:t>Object Plans</a:t>
          </a:r>
          <a:r>
            <a:rPr lang="en-US" sz="2400" dirty="0"/>
            <a:t> cache store (OBJCP) </a:t>
          </a:r>
        </a:p>
        <a:p>
          <a:r>
            <a:rPr lang="en-US" sz="2400" dirty="0"/>
            <a:t>used for plans related to persisted objects (stored procedures, functions, and triggers).</a:t>
          </a:r>
        </a:p>
      </dgm:t>
    </dgm:pt>
    <dgm:pt modelId="{A12488BD-FC7A-4ABA-8FD9-EF67A0C3CD40}" type="parTrans" cxnId="{DB7F20C3-597F-4F40-90C5-4E9458158BBE}">
      <dgm:prSet/>
      <dgm:spPr/>
      <dgm:t>
        <a:bodyPr/>
        <a:lstStyle/>
        <a:p>
          <a:endParaRPr lang="en-US"/>
        </a:p>
      </dgm:t>
    </dgm:pt>
    <dgm:pt modelId="{D212BB7F-380C-4771-A160-9167CFE6B40F}" type="sibTrans" cxnId="{DB7F20C3-597F-4F40-90C5-4E9458158BBE}">
      <dgm:prSet/>
      <dgm:spPr/>
      <dgm:t>
        <a:bodyPr/>
        <a:lstStyle/>
        <a:p>
          <a:endParaRPr lang="en-US"/>
        </a:p>
      </dgm:t>
    </dgm:pt>
    <dgm:pt modelId="{87070551-8327-463C-834C-67B979C0B729}">
      <dgm:prSet custT="1"/>
      <dgm:spPr/>
      <dgm:t>
        <a:bodyPr/>
        <a:lstStyle/>
        <a:p>
          <a:r>
            <a:rPr lang="en-US" sz="2300" dirty="0"/>
            <a:t>The </a:t>
          </a:r>
          <a:r>
            <a:rPr lang="en-US" sz="2300" b="1" dirty="0"/>
            <a:t>SQL </a:t>
          </a:r>
          <a:r>
            <a:rPr lang="en-US" sz="2400" b="1" dirty="0"/>
            <a:t>Plans</a:t>
          </a:r>
          <a:r>
            <a:rPr lang="en-US" sz="2400" dirty="0"/>
            <a:t> cache store (SQLCP) </a:t>
          </a:r>
        </a:p>
        <a:p>
          <a:r>
            <a:rPr lang="en-US" sz="2400" dirty="0"/>
            <a:t>used for plans related to autoparameterized, dynamic, or prepared queries.</a:t>
          </a:r>
        </a:p>
      </dgm:t>
    </dgm:pt>
    <dgm:pt modelId="{A3CEAE69-8BB6-4310-A1F4-94C9742DC2B7}" type="parTrans" cxnId="{EEF2FBB4-60DC-461F-BD46-66E3B31C4A8D}">
      <dgm:prSet/>
      <dgm:spPr/>
      <dgm:t>
        <a:bodyPr/>
        <a:lstStyle/>
        <a:p>
          <a:endParaRPr lang="en-US"/>
        </a:p>
      </dgm:t>
    </dgm:pt>
    <dgm:pt modelId="{3BD3CE00-20E4-4689-A7AC-EA1DA2065CED}" type="sibTrans" cxnId="{EEF2FBB4-60DC-461F-BD46-66E3B31C4A8D}">
      <dgm:prSet/>
      <dgm:spPr/>
      <dgm:t>
        <a:bodyPr/>
        <a:lstStyle/>
        <a:p>
          <a:endParaRPr lang="en-US"/>
        </a:p>
      </dgm:t>
    </dgm:pt>
    <dgm:pt modelId="{B6ED8F0C-D485-4391-BA2D-661BFEE87076}" type="pres">
      <dgm:prSet presAssocID="{77E3456D-6195-4DDD-889F-51619F5D4BFB}" presName="diagram" presStyleCnt="0">
        <dgm:presLayoutVars>
          <dgm:dir/>
          <dgm:resizeHandles val="exact"/>
        </dgm:presLayoutVars>
      </dgm:prSet>
      <dgm:spPr/>
    </dgm:pt>
    <dgm:pt modelId="{7E039D22-5AC4-42B5-9857-08FA4E60A21B}" type="pres">
      <dgm:prSet presAssocID="{2638D9CB-D0B2-45D9-AAB3-D1D3E175B31A}" presName="node" presStyleLbl="node1" presStyleIdx="0" presStyleCnt="2" custScaleX="330711" custScaleY="175735">
        <dgm:presLayoutVars>
          <dgm:bulletEnabled val="1"/>
        </dgm:presLayoutVars>
      </dgm:prSet>
      <dgm:spPr/>
    </dgm:pt>
    <dgm:pt modelId="{16F87CFB-65D7-4366-A134-604F5BDAA562}" type="pres">
      <dgm:prSet presAssocID="{D212BB7F-380C-4771-A160-9167CFE6B40F}" presName="sibTrans" presStyleCnt="0"/>
      <dgm:spPr/>
    </dgm:pt>
    <dgm:pt modelId="{0607B600-7462-40FE-AD92-970B5E415713}" type="pres">
      <dgm:prSet presAssocID="{87070551-8327-463C-834C-67B979C0B729}" presName="node" presStyleLbl="node1" presStyleIdx="1" presStyleCnt="2" custScaleX="330711" custScaleY="175735">
        <dgm:presLayoutVars>
          <dgm:bulletEnabled val="1"/>
        </dgm:presLayoutVars>
      </dgm:prSet>
      <dgm:spPr/>
    </dgm:pt>
  </dgm:ptLst>
  <dgm:cxnLst>
    <dgm:cxn modelId="{6E39222B-2D1B-4CBB-A95C-19C359A737BE}" type="presOf" srcId="{2638D9CB-D0B2-45D9-AAB3-D1D3E175B31A}" destId="{7E039D22-5AC4-42B5-9857-08FA4E60A21B}" srcOrd="0" destOrd="0" presId="urn:microsoft.com/office/officeart/2005/8/layout/default"/>
    <dgm:cxn modelId="{EEF2FBB4-60DC-461F-BD46-66E3B31C4A8D}" srcId="{77E3456D-6195-4DDD-889F-51619F5D4BFB}" destId="{87070551-8327-463C-834C-67B979C0B729}" srcOrd="1" destOrd="0" parTransId="{A3CEAE69-8BB6-4310-A1F4-94C9742DC2B7}" sibTransId="{3BD3CE00-20E4-4689-A7AC-EA1DA2065CED}"/>
    <dgm:cxn modelId="{DB7F20C3-597F-4F40-90C5-4E9458158BBE}" srcId="{77E3456D-6195-4DDD-889F-51619F5D4BFB}" destId="{2638D9CB-D0B2-45D9-AAB3-D1D3E175B31A}" srcOrd="0" destOrd="0" parTransId="{A12488BD-FC7A-4ABA-8FD9-EF67A0C3CD40}" sibTransId="{D212BB7F-380C-4771-A160-9167CFE6B40F}"/>
    <dgm:cxn modelId="{06FD21C7-8700-4671-AB63-1ADA10D1CA0D}" type="presOf" srcId="{87070551-8327-463C-834C-67B979C0B729}" destId="{0607B600-7462-40FE-AD92-970B5E415713}" srcOrd="0" destOrd="0" presId="urn:microsoft.com/office/officeart/2005/8/layout/default"/>
    <dgm:cxn modelId="{D44141CA-C19E-4B6C-8929-DEE1113CCCE0}" type="presOf" srcId="{77E3456D-6195-4DDD-889F-51619F5D4BFB}" destId="{B6ED8F0C-D485-4391-BA2D-661BFEE87076}" srcOrd="0" destOrd="0" presId="urn:microsoft.com/office/officeart/2005/8/layout/default"/>
    <dgm:cxn modelId="{7E7E47C6-2C3D-4AE7-A021-B5766D974E7A}" type="presParOf" srcId="{B6ED8F0C-D485-4391-BA2D-661BFEE87076}" destId="{7E039D22-5AC4-42B5-9857-08FA4E60A21B}" srcOrd="0" destOrd="0" presId="urn:microsoft.com/office/officeart/2005/8/layout/default"/>
    <dgm:cxn modelId="{AA810CCE-A284-4458-AFA6-D0215B41A97D}" type="presParOf" srcId="{B6ED8F0C-D485-4391-BA2D-661BFEE87076}" destId="{16F87CFB-65D7-4366-A134-604F5BDAA562}" srcOrd="1" destOrd="0" presId="urn:microsoft.com/office/officeart/2005/8/layout/default"/>
    <dgm:cxn modelId="{70CC9E80-1A24-48D3-93FE-DEF0E1F9840A}" type="presParOf" srcId="{B6ED8F0C-D485-4391-BA2D-661BFEE87076}" destId="{0607B600-7462-40FE-AD92-970B5E415713}"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857284A-DA74-4FFE-9E7E-89FCDA6C03D9}"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A8F9D448-0773-4C37-82B8-3BBB884A7CE7}">
      <dgm:prSet phldrT="[Text]" custT="1"/>
      <dgm:spPr/>
      <dgm:t>
        <a:bodyPr/>
        <a:lstStyle/>
        <a:p>
          <a:r>
            <a:rPr lang="en-US" sz="2400" dirty="0"/>
            <a:t>Compilation</a:t>
          </a:r>
        </a:p>
      </dgm:t>
    </dgm:pt>
    <dgm:pt modelId="{DE95D5BA-0638-4D0D-B821-25AE6964230E}" type="parTrans" cxnId="{513CD765-C67E-4304-A4D1-6C5D215FF692}">
      <dgm:prSet/>
      <dgm:spPr/>
      <dgm:t>
        <a:bodyPr/>
        <a:lstStyle/>
        <a:p>
          <a:endParaRPr lang="en-US"/>
        </a:p>
      </dgm:t>
    </dgm:pt>
    <dgm:pt modelId="{A8289F88-33F7-44F4-9A0F-35C7536B9A7A}" type="sibTrans" cxnId="{513CD765-C67E-4304-A4D1-6C5D215FF692}">
      <dgm:prSet/>
      <dgm:spPr/>
      <dgm:t>
        <a:bodyPr/>
        <a:lstStyle/>
        <a:p>
          <a:endParaRPr lang="en-US"/>
        </a:p>
      </dgm:t>
    </dgm:pt>
    <dgm:pt modelId="{1718987D-845B-4DE8-8EC9-87D30B9B5D6F}">
      <dgm:prSet/>
      <dgm:spPr/>
      <dgm:t>
        <a:bodyPr/>
        <a:lstStyle/>
        <a:p>
          <a:pPr marL="0" indent="0">
            <a:buNone/>
          </a:pPr>
          <a:r>
            <a:rPr lang="en-US" dirty="0"/>
            <a:t>Process of creating a good enough query execution plan, as quickly as possible for a query batch. </a:t>
          </a:r>
        </a:p>
      </dgm:t>
    </dgm:pt>
    <dgm:pt modelId="{CB3ED2FC-18BE-4C16-A249-A9083FAFEB3A}" type="parTrans" cxnId="{235B5F9B-A394-436A-91C8-13103B0DA768}">
      <dgm:prSet/>
      <dgm:spPr/>
      <dgm:t>
        <a:bodyPr/>
        <a:lstStyle/>
        <a:p>
          <a:endParaRPr lang="en-US"/>
        </a:p>
      </dgm:t>
    </dgm:pt>
    <dgm:pt modelId="{F2AB5F58-B76E-43F8-BC7F-76AB50F23F6D}" type="sibTrans" cxnId="{235B5F9B-A394-436A-91C8-13103B0DA768}">
      <dgm:prSet/>
      <dgm:spPr/>
      <dgm:t>
        <a:bodyPr/>
        <a:lstStyle/>
        <a:p>
          <a:endParaRPr lang="en-US"/>
        </a:p>
      </dgm:t>
    </dgm:pt>
    <dgm:pt modelId="{46382EB3-0A8E-4130-A9B8-3F4A2ED1720E}">
      <dgm:prSet/>
      <dgm:spPr/>
      <dgm:t>
        <a:bodyPr/>
        <a:lstStyle/>
        <a:p>
          <a:pPr marL="0" indent="0">
            <a:buNone/>
          </a:pPr>
          <a:r>
            <a:rPr lang="en-US" dirty="0"/>
            <a:t>Refer to both the compilation of non-DML constructs in SQL statements (control flow, DDL, etc.) and the process of Query Optimization.</a:t>
          </a:r>
        </a:p>
      </dgm:t>
    </dgm:pt>
    <dgm:pt modelId="{A8F60ADD-9DAB-40E0-B7FC-2981D4E84714}" type="parTrans" cxnId="{9426F63C-0838-4A0D-BB32-5B558A0959CA}">
      <dgm:prSet/>
      <dgm:spPr/>
      <dgm:t>
        <a:bodyPr/>
        <a:lstStyle/>
        <a:p>
          <a:endParaRPr lang="en-US"/>
        </a:p>
      </dgm:t>
    </dgm:pt>
    <dgm:pt modelId="{C0661175-3B49-410A-A9EC-2B7988540868}" type="sibTrans" cxnId="{9426F63C-0838-4A0D-BB32-5B558A0959CA}">
      <dgm:prSet/>
      <dgm:spPr/>
      <dgm:t>
        <a:bodyPr/>
        <a:lstStyle/>
        <a:p>
          <a:endParaRPr lang="en-US"/>
        </a:p>
      </dgm:t>
    </dgm:pt>
    <dgm:pt modelId="{31BD5438-473C-4E4C-888C-3ECA85D744DD}">
      <dgm:prSet custT="1"/>
      <dgm:spPr/>
      <dgm:t>
        <a:bodyPr/>
        <a:lstStyle/>
        <a:p>
          <a:r>
            <a:rPr lang="en-US" sz="2400" dirty="0"/>
            <a:t>Query Execution</a:t>
          </a:r>
        </a:p>
      </dgm:t>
    </dgm:pt>
    <dgm:pt modelId="{8E5320E9-77FA-4501-B2D7-DE95E9B23027}" type="parTrans" cxnId="{7ED15842-694B-4ACC-8186-9C3BFB875BB7}">
      <dgm:prSet/>
      <dgm:spPr/>
      <dgm:t>
        <a:bodyPr/>
        <a:lstStyle/>
        <a:p>
          <a:endParaRPr lang="en-US"/>
        </a:p>
      </dgm:t>
    </dgm:pt>
    <dgm:pt modelId="{4E669F4F-92D1-4826-82C6-3B393B87EEF7}" type="sibTrans" cxnId="{7ED15842-694B-4ACC-8186-9C3BFB875BB7}">
      <dgm:prSet/>
      <dgm:spPr/>
      <dgm:t>
        <a:bodyPr/>
        <a:lstStyle/>
        <a:p>
          <a:endParaRPr lang="en-US"/>
        </a:p>
      </dgm:t>
    </dgm:pt>
    <dgm:pt modelId="{6C58BDEA-9D02-48B1-8D38-94085F8DF2B2}">
      <dgm:prSet/>
      <dgm:spPr/>
      <dgm:t>
        <a:bodyPr/>
        <a:lstStyle/>
        <a:p>
          <a:pPr marL="0" indent="0">
            <a:buNone/>
          </a:pPr>
          <a:r>
            <a:rPr lang="en-US" dirty="0"/>
            <a:t>Process of executing the plan that is created during query compilation and optimization.</a:t>
          </a:r>
        </a:p>
      </dgm:t>
    </dgm:pt>
    <dgm:pt modelId="{18250D15-ED09-49D3-9DE4-5598DEE27817}" type="parTrans" cxnId="{2750F228-7713-4D7F-BF3D-48E649EDEB3E}">
      <dgm:prSet/>
      <dgm:spPr/>
      <dgm:t>
        <a:bodyPr/>
        <a:lstStyle/>
        <a:p>
          <a:endParaRPr lang="en-US"/>
        </a:p>
      </dgm:t>
    </dgm:pt>
    <dgm:pt modelId="{22052F57-11C1-4DB0-917E-629D85DF34AB}" type="sibTrans" cxnId="{2750F228-7713-4D7F-BF3D-48E649EDEB3E}">
      <dgm:prSet/>
      <dgm:spPr/>
      <dgm:t>
        <a:bodyPr/>
        <a:lstStyle/>
        <a:p>
          <a:endParaRPr lang="en-US"/>
        </a:p>
      </dgm:t>
    </dgm:pt>
    <dgm:pt modelId="{1915631B-863C-4673-8946-9170A16CD21F}">
      <dgm:prSet/>
      <dgm:spPr/>
      <dgm:t>
        <a:bodyPr/>
        <a:lstStyle/>
        <a:p>
          <a:pPr marL="0" indent="0">
            <a:buNone/>
          </a:pPr>
          <a:endParaRPr lang="en-US" dirty="0"/>
        </a:p>
      </dgm:t>
    </dgm:pt>
    <dgm:pt modelId="{826F1295-B6CD-41F8-ADD6-8DE180B0A23C}" type="parTrans" cxnId="{B4BF8FCC-8E0E-4C3C-A315-A10BC736EBAB}">
      <dgm:prSet/>
      <dgm:spPr/>
      <dgm:t>
        <a:bodyPr/>
        <a:lstStyle/>
        <a:p>
          <a:endParaRPr lang="en-US"/>
        </a:p>
      </dgm:t>
    </dgm:pt>
    <dgm:pt modelId="{68D49257-C5F1-4DDE-A4EB-23B05F271F16}" type="sibTrans" cxnId="{B4BF8FCC-8E0E-4C3C-A315-A10BC736EBAB}">
      <dgm:prSet/>
      <dgm:spPr/>
      <dgm:t>
        <a:bodyPr/>
        <a:lstStyle/>
        <a:p>
          <a:endParaRPr lang="en-US"/>
        </a:p>
      </dgm:t>
    </dgm:pt>
    <dgm:pt modelId="{68920C21-2E07-4002-B0D0-E3C2017B0021}" type="pres">
      <dgm:prSet presAssocID="{B857284A-DA74-4FFE-9E7E-89FCDA6C03D9}" presName="Name0" presStyleCnt="0">
        <dgm:presLayoutVars>
          <dgm:dir/>
          <dgm:animLvl val="lvl"/>
          <dgm:resizeHandles val="exact"/>
        </dgm:presLayoutVars>
      </dgm:prSet>
      <dgm:spPr/>
    </dgm:pt>
    <dgm:pt modelId="{510042EC-EC4D-4547-833B-6622B27420D6}" type="pres">
      <dgm:prSet presAssocID="{A8F9D448-0773-4C37-82B8-3BBB884A7CE7}" presName="composite" presStyleCnt="0"/>
      <dgm:spPr/>
    </dgm:pt>
    <dgm:pt modelId="{C86561AE-EB91-46FB-9CB1-DACF71BDC270}" type="pres">
      <dgm:prSet presAssocID="{A8F9D448-0773-4C37-82B8-3BBB884A7CE7}" presName="parTx" presStyleLbl="alignNode1" presStyleIdx="0" presStyleCnt="2">
        <dgm:presLayoutVars>
          <dgm:chMax val="0"/>
          <dgm:chPref val="0"/>
          <dgm:bulletEnabled val="1"/>
        </dgm:presLayoutVars>
      </dgm:prSet>
      <dgm:spPr/>
    </dgm:pt>
    <dgm:pt modelId="{7A91FE17-D52D-42E4-9023-C82B59410906}" type="pres">
      <dgm:prSet presAssocID="{A8F9D448-0773-4C37-82B8-3BBB884A7CE7}" presName="desTx" presStyleLbl="alignAccFollowNode1" presStyleIdx="0" presStyleCnt="2">
        <dgm:presLayoutVars>
          <dgm:bulletEnabled val="1"/>
        </dgm:presLayoutVars>
      </dgm:prSet>
      <dgm:spPr/>
    </dgm:pt>
    <dgm:pt modelId="{23C367E0-3D18-4E3B-BEA9-96600B22C6A7}" type="pres">
      <dgm:prSet presAssocID="{A8289F88-33F7-44F4-9A0F-35C7536B9A7A}" presName="space" presStyleCnt="0"/>
      <dgm:spPr/>
    </dgm:pt>
    <dgm:pt modelId="{C82AF9CD-9C98-4438-B340-CC7B1F506EEE}" type="pres">
      <dgm:prSet presAssocID="{31BD5438-473C-4E4C-888C-3ECA85D744DD}" presName="composite" presStyleCnt="0"/>
      <dgm:spPr/>
    </dgm:pt>
    <dgm:pt modelId="{F78F4538-100B-4C82-9CFE-2186CFD513CF}" type="pres">
      <dgm:prSet presAssocID="{31BD5438-473C-4E4C-888C-3ECA85D744DD}" presName="parTx" presStyleLbl="alignNode1" presStyleIdx="1" presStyleCnt="2" custLinFactNeighborX="-1417" custLinFactNeighborY="-6173">
        <dgm:presLayoutVars>
          <dgm:chMax val="0"/>
          <dgm:chPref val="0"/>
          <dgm:bulletEnabled val="1"/>
        </dgm:presLayoutVars>
      </dgm:prSet>
      <dgm:spPr/>
    </dgm:pt>
    <dgm:pt modelId="{104DBD2F-E6D9-4451-9F99-A11E3EE6A967}" type="pres">
      <dgm:prSet presAssocID="{31BD5438-473C-4E4C-888C-3ECA85D744DD}" presName="desTx" presStyleLbl="alignAccFollowNode1" presStyleIdx="1" presStyleCnt="2" custLinFactNeighborX="-1417" custLinFactNeighborY="-2603">
        <dgm:presLayoutVars>
          <dgm:bulletEnabled val="1"/>
        </dgm:presLayoutVars>
      </dgm:prSet>
      <dgm:spPr/>
    </dgm:pt>
  </dgm:ptLst>
  <dgm:cxnLst>
    <dgm:cxn modelId="{2750F228-7713-4D7F-BF3D-48E649EDEB3E}" srcId="{31BD5438-473C-4E4C-888C-3ECA85D744DD}" destId="{6C58BDEA-9D02-48B1-8D38-94085F8DF2B2}" srcOrd="0" destOrd="0" parTransId="{18250D15-ED09-49D3-9DE4-5598DEE27817}" sibTransId="{22052F57-11C1-4DB0-917E-629D85DF34AB}"/>
    <dgm:cxn modelId="{2AD13F32-325A-429E-B2F6-15D720D455AF}" type="presOf" srcId="{1915631B-863C-4673-8946-9170A16CD21F}" destId="{7A91FE17-D52D-42E4-9023-C82B59410906}" srcOrd="0" destOrd="1" presId="urn:microsoft.com/office/officeart/2005/8/layout/hList1"/>
    <dgm:cxn modelId="{9426F63C-0838-4A0D-BB32-5B558A0959CA}" srcId="{A8F9D448-0773-4C37-82B8-3BBB884A7CE7}" destId="{46382EB3-0A8E-4130-A9B8-3F4A2ED1720E}" srcOrd="2" destOrd="0" parTransId="{A8F60ADD-9DAB-40E0-B7FC-2981D4E84714}" sibTransId="{C0661175-3B49-410A-A9EC-2B7988540868}"/>
    <dgm:cxn modelId="{8670B65F-7838-4482-B7CD-DA29526477E6}" type="presOf" srcId="{A8F9D448-0773-4C37-82B8-3BBB884A7CE7}" destId="{C86561AE-EB91-46FB-9CB1-DACF71BDC270}" srcOrd="0" destOrd="0" presId="urn:microsoft.com/office/officeart/2005/8/layout/hList1"/>
    <dgm:cxn modelId="{7ED15842-694B-4ACC-8186-9C3BFB875BB7}" srcId="{B857284A-DA74-4FFE-9E7E-89FCDA6C03D9}" destId="{31BD5438-473C-4E4C-888C-3ECA85D744DD}" srcOrd="1" destOrd="0" parTransId="{8E5320E9-77FA-4501-B2D7-DE95E9B23027}" sibTransId="{4E669F4F-92D1-4826-82C6-3B393B87EEF7}"/>
    <dgm:cxn modelId="{513CD765-C67E-4304-A4D1-6C5D215FF692}" srcId="{B857284A-DA74-4FFE-9E7E-89FCDA6C03D9}" destId="{A8F9D448-0773-4C37-82B8-3BBB884A7CE7}" srcOrd="0" destOrd="0" parTransId="{DE95D5BA-0638-4D0D-B821-25AE6964230E}" sibTransId="{A8289F88-33F7-44F4-9A0F-35C7536B9A7A}"/>
    <dgm:cxn modelId="{E4C73059-B5F6-4B02-A068-52446988EB41}" type="presOf" srcId="{46382EB3-0A8E-4130-A9B8-3F4A2ED1720E}" destId="{7A91FE17-D52D-42E4-9023-C82B59410906}" srcOrd="0" destOrd="2" presId="urn:microsoft.com/office/officeart/2005/8/layout/hList1"/>
    <dgm:cxn modelId="{235B5F9B-A394-436A-91C8-13103B0DA768}" srcId="{A8F9D448-0773-4C37-82B8-3BBB884A7CE7}" destId="{1718987D-845B-4DE8-8EC9-87D30B9B5D6F}" srcOrd="0" destOrd="0" parTransId="{CB3ED2FC-18BE-4C16-A249-A9083FAFEB3A}" sibTransId="{F2AB5F58-B76E-43F8-BC7F-76AB50F23F6D}"/>
    <dgm:cxn modelId="{097A109C-121D-454C-96C1-EFE4D0C4C018}" type="presOf" srcId="{6C58BDEA-9D02-48B1-8D38-94085F8DF2B2}" destId="{104DBD2F-E6D9-4451-9F99-A11E3EE6A967}" srcOrd="0" destOrd="0" presId="urn:microsoft.com/office/officeart/2005/8/layout/hList1"/>
    <dgm:cxn modelId="{F061F2A9-FCBB-4378-90D4-8505A734E34C}" type="presOf" srcId="{31BD5438-473C-4E4C-888C-3ECA85D744DD}" destId="{F78F4538-100B-4C82-9CFE-2186CFD513CF}" srcOrd="0" destOrd="0" presId="urn:microsoft.com/office/officeart/2005/8/layout/hList1"/>
    <dgm:cxn modelId="{5B77B8BE-60FC-401C-8146-0240A4F41558}" type="presOf" srcId="{B857284A-DA74-4FFE-9E7E-89FCDA6C03D9}" destId="{68920C21-2E07-4002-B0D0-E3C2017B0021}" srcOrd="0" destOrd="0" presId="urn:microsoft.com/office/officeart/2005/8/layout/hList1"/>
    <dgm:cxn modelId="{B4BF8FCC-8E0E-4C3C-A315-A10BC736EBAB}" srcId="{A8F9D448-0773-4C37-82B8-3BBB884A7CE7}" destId="{1915631B-863C-4673-8946-9170A16CD21F}" srcOrd="1" destOrd="0" parTransId="{826F1295-B6CD-41F8-ADD6-8DE180B0A23C}" sibTransId="{68D49257-C5F1-4DDE-A4EB-23B05F271F16}"/>
    <dgm:cxn modelId="{720E18FE-884B-40B4-962B-F16E3AF611D2}" type="presOf" srcId="{1718987D-845B-4DE8-8EC9-87D30B9B5D6F}" destId="{7A91FE17-D52D-42E4-9023-C82B59410906}" srcOrd="0" destOrd="0" presId="urn:microsoft.com/office/officeart/2005/8/layout/hList1"/>
    <dgm:cxn modelId="{4D41B517-C93D-41D0-A0F5-4CFEE07094DA}" type="presParOf" srcId="{68920C21-2E07-4002-B0D0-E3C2017B0021}" destId="{510042EC-EC4D-4547-833B-6622B27420D6}" srcOrd="0" destOrd="0" presId="urn:microsoft.com/office/officeart/2005/8/layout/hList1"/>
    <dgm:cxn modelId="{4CC711A5-91F2-467D-9815-A9B6AB43838B}" type="presParOf" srcId="{510042EC-EC4D-4547-833B-6622B27420D6}" destId="{C86561AE-EB91-46FB-9CB1-DACF71BDC270}" srcOrd="0" destOrd="0" presId="urn:microsoft.com/office/officeart/2005/8/layout/hList1"/>
    <dgm:cxn modelId="{56DD52E5-4DE1-4480-A4D4-66BFCA28C49C}" type="presParOf" srcId="{510042EC-EC4D-4547-833B-6622B27420D6}" destId="{7A91FE17-D52D-42E4-9023-C82B59410906}" srcOrd="1" destOrd="0" presId="urn:microsoft.com/office/officeart/2005/8/layout/hList1"/>
    <dgm:cxn modelId="{0E2659C1-06AB-40FB-8661-4A1D8C18FCBC}" type="presParOf" srcId="{68920C21-2E07-4002-B0D0-E3C2017B0021}" destId="{23C367E0-3D18-4E3B-BEA9-96600B22C6A7}" srcOrd="1" destOrd="0" presId="urn:microsoft.com/office/officeart/2005/8/layout/hList1"/>
    <dgm:cxn modelId="{9AB781EF-BB77-41F9-8455-3636C20A2885}" type="presParOf" srcId="{68920C21-2E07-4002-B0D0-E3C2017B0021}" destId="{C82AF9CD-9C98-4438-B340-CC7B1F506EEE}" srcOrd="2" destOrd="0" presId="urn:microsoft.com/office/officeart/2005/8/layout/hList1"/>
    <dgm:cxn modelId="{E952A2E4-792F-47DE-8143-2FDD33CCD8DC}" type="presParOf" srcId="{C82AF9CD-9C98-4438-B340-CC7B1F506EEE}" destId="{F78F4538-100B-4C82-9CFE-2186CFD513CF}" srcOrd="0" destOrd="0" presId="urn:microsoft.com/office/officeart/2005/8/layout/hList1"/>
    <dgm:cxn modelId="{B52EAD34-8595-4A4D-8EE1-165E6D6EBD08}" type="presParOf" srcId="{C82AF9CD-9C98-4438-B340-CC7B1F506EEE}" destId="{104DBD2F-E6D9-4451-9F99-A11E3EE6A96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7A54820-1179-41D0-9F0B-1C0C1D2DE876}"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E3CA5C9C-4046-44BD-BD23-692B44D14D74}">
      <dgm:prSet/>
      <dgm:spPr/>
      <dgm:t>
        <a:bodyPr/>
        <a:lstStyle/>
        <a:p>
          <a:r>
            <a:rPr lang="en-US" baseline="0"/>
            <a:t>Most recompilations are required either for statement correctness or to obtain potentially faster query execution plan.</a:t>
          </a:r>
          <a:endParaRPr lang="en-US"/>
        </a:p>
      </dgm:t>
    </dgm:pt>
    <dgm:pt modelId="{D77C0AF1-B10B-412B-92D5-67D6AFF43E16}" type="parTrans" cxnId="{C5CF5BBD-B8B5-4396-9773-45E3D8459E53}">
      <dgm:prSet/>
      <dgm:spPr/>
      <dgm:t>
        <a:bodyPr/>
        <a:lstStyle/>
        <a:p>
          <a:endParaRPr lang="en-US"/>
        </a:p>
      </dgm:t>
    </dgm:pt>
    <dgm:pt modelId="{12057100-5AEA-4440-906B-DEC84AD11F19}" type="sibTrans" cxnId="{C5CF5BBD-B8B5-4396-9773-45E3D8459E53}">
      <dgm:prSet/>
      <dgm:spPr/>
      <dgm:t>
        <a:bodyPr/>
        <a:lstStyle/>
        <a:p>
          <a:endParaRPr lang="en-US"/>
        </a:p>
      </dgm:t>
    </dgm:pt>
    <dgm:pt modelId="{7B0409F6-71F8-4896-AB72-2EF325AD964A}">
      <dgm:prSet/>
      <dgm:spPr/>
      <dgm:t>
        <a:bodyPr/>
        <a:lstStyle/>
        <a:p>
          <a:r>
            <a:rPr lang="en-US" baseline="0"/>
            <a:t>The engine detects changes that invalidate execution plan(s) and marks those as not valid. New plan must be recompiled for the next query execution.</a:t>
          </a:r>
          <a:endParaRPr lang="en-US"/>
        </a:p>
      </dgm:t>
    </dgm:pt>
    <dgm:pt modelId="{1B29C441-872D-4412-9D40-874E1EE6E8F9}" type="parTrans" cxnId="{43A957B2-16B8-4B01-B09D-87842E9A38F2}">
      <dgm:prSet/>
      <dgm:spPr/>
      <dgm:t>
        <a:bodyPr/>
        <a:lstStyle/>
        <a:p>
          <a:endParaRPr lang="en-US"/>
        </a:p>
      </dgm:t>
    </dgm:pt>
    <dgm:pt modelId="{F9BB0583-578A-4E3F-B834-0B16ECEA78B3}" type="sibTrans" cxnId="{43A957B2-16B8-4B01-B09D-87842E9A38F2}">
      <dgm:prSet/>
      <dgm:spPr/>
      <dgm:t>
        <a:bodyPr/>
        <a:lstStyle/>
        <a:p>
          <a:endParaRPr lang="en-US"/>
        </a:p>
      </dgm:t>
    </dgm:pt>
    <dgm:pt modelId="{09678A35-919D-4F2C-8E8A-48A0D5830B87}">
      <dgm:prSet/>
      <dgm:spPr/>
      <dgm:t>
        <a:bodyPr/>
        <a:lstStyle/>
        <a:p>
          <a:r>
            <a:rPr lang="en-US" baseline="0"/>
            <a:t>Starting with SQL Server 2005, whenever a statement within a batch causes recompilation, only the statement inside the batch that triggers recompilation is recompiled. </a:t>
          </a:r>
          <a:endParaRPr lang="en-US"/>
        </a:p>
      </dgm:t>
    </dgm:pt>
    <dgm:pt modelId="{1B836FDC-6C91-419A-A738-0F512FC77FD2}" type="parTrans" cxnId="{6D1B4DF0-245C-4587-9257-B23396741A05}">
      <dgm:prSet/>
      <dgm:spPr/>
      <dgm:t>
        <a:bodyPr/>
        <a:lstStyle/>
        <a:p>
          <a:endParaRPr lang="en-US"/>
        </a:p>
      </dgm:t>
    </dgm:pt>
    <dgm:pt modelId="{95A618A2-5356-4621-918E-05132B9EF544}" type="sibTrans" cxnId="{6D1B4DF0-245C-4587-9257-B23396741A05}">
      <dgm:prSet/>
      <dgm:spPr/>
      <dgm:t>
        <a:bodyPr/>
        <a:lstStyle/>
        <a:p>
          <a:endParaRPr lang="en-US"/>
        </a:p>
      </dgm:t>
    </dgm:pt>
    <dgm:pt modelId="{456CAD0E-3613-4D47-AF50-80ADBF957F94}" type="pres">
      <dgm:prSet presAssocID="{F7A54820-1179-41D0-9F0B-1C0C1D2DE876}" presName="linear" presStyleCnt="0">
        <dgm:presLayoutVars>
          <dgm:animLvl val="lvl"/>
          <dgm:resizeHandles val="exact"/>
        </dgm:presLayoutVars>
      </dgm:prSet>
      <dgm:spPr/>
    </dgm:pt>
    <dgm:pt modelId="{A097A6CF-9EAC-4430-9593-81E6FD90A45A}" type="pres">
      <dgm:prSet presAssocID="{E3CA5C9C-4046-44BD-BD23-692B44D14D74}" presName="parentText" presStyleLbl="node1" presStyleIdx="0" presStyleCnt="3">
        <dgm:presLayoutVars>
          <dgm:chMax val="0"/>
          <dgm:bulletEnabled val="1"/>
        </dgm:presLayoutVars>
      </dgm:prSet>
      <dgm:spPr/>
    </dgm:pt>
    <dgm:pt modelId="{8D9E9FDA-9353-4F65-BA3D-936D45B22CB2}" type="pres">
      <dgm:prSet presAssocID="{12057100-5AEA-4440-906B-DEC84AD11F19}" presName="spacer" presStyleCnt="0"/>
      <dgm:spPr/>
    </dgm:pt>
    <dgm:pt modelId="{F4FEF3FC-9BCD-49CC-A9FB-C74CF051F99F}" type="pres">
      <dgm:prSet presAssocID="{7B0409F6-71F8-4896-AB72-2EF325AD964A}" presName="parentText" presStyleLbl="node1" presStyleIdx="1" presStyleCnt="3">
        <dgm:presLayoutVars>
          <dgm:chMax val="0"/>
          <dgm:bulletEnabled val="1"/>
        </dgm:presLayoutVars>
      </dgm:prSet>
      <dgm:spPr/>
    </dgm:pt>
    <dgm:pt modelId="{BF868B0D-0175-4439-B8A4-21C3D1F38B29}" type="pres">
      <dgm:prSet presAssocID="{F9BB0583-578A-4E3F-B834-0B16ECEA78B3}" presName="spacer" presStyleCnt="0"/>
      <dgm:spPr/>
    </dgm:pt>
    <dgm:pt modelId="{9656EFC1-6C72-43BD-B835-5BA8B28AFC60}" type="pres">
      <dgm:prSet presAssocID="{09678A35-919D-4F2C-8E8A-48A0D5830B87}" presName="parentText" presStyleLbl="node1" presStyleIdx="2" presStyleCnt="3">
        <dgm:presLayoutVars>
          <dgm:chMax val="0"/>
          <dgm:bulletEnabled val="1"/>
        </dgm:presLayoutVars>
      </dgm:prSet>
      <dgm:spPr/>
    </dgm:pt>
  </dgm:ptLst>
  <dgm:cxnLst>
    <dgm:cxn modelId="{7AF04D25-A74B-4959-A985-DADBB4B66D00}" type="presOf" srcId="{09678A35-919D-4F2C-8E8A-48A0D5830B87}" destId="{9656EFC1-6C72-43BD-B835-5BA8B28AFC60}" srcOrd="0" destOrd="0" presId="urn:microsoft.com/office/officeart/2005/8/layout/vList2"/>
    <dgm:cxn modelId="{C629643F-211A-464D-9CC2-E2D5EE075577}" type="presOf" srcId="{7B0409F6-71F8-4896-AB72-2EF325AD964A}" destId="{F4FEF3FC-9BCD-49CC-A9FB-C74CF051F99F}" srcOrd="0" destOrd="0" presId="urn:microsoft.com/office/officeart/2005/8/layout/vList2"/>
    <dgm:cxn modelId="{D1A8277D-58BF-4C65-8C7E-2D153F627C77}" type="presOf" srcId="{F7A54820-1179-41D0-9F0B-1C0C1D2DE876}" destId="{456CAD0E-3613-4D47-AF50-80ADBF957F94}" srcOrd="0" destOrd="0" presId="urn:microsoft.com/office/officeart/2005/8/layout/vList2"/>
    <dgm:cxn modelId="{43A957B2-16B8-4B01-B09D-87842E9A38F2}" srcId="{F7A54820-1179-41D0-9F0B-1C0C1D2DE876}" destId="{7B0409F6-71F8-4896-AB72-2EF325AD964A}" srcOrd="1" destOrd="0" parTransId="{1B29C441-872D-4412-9D40-874E1EE6E8F9}" sibTransId="{F9BB0583-578A-4E3F-B834-0B16ECEA78B3}"/>
    <dgm:cxn modelId="{C5CF5BBD-B8B5-4396-9773-45E3D8459E53}" srcId="{F7A54820-1179-41D0-9F0B-1C0C1D2DE876}" destId="{E3CA5C9C-4046-44BD-BD23-692B44D14D74}" srcOrd="0" destOrd="0" parTransId="{D77C0AF1-B10B-412B-92D5-67D6AFF43E16}" sibTransId="{12057100-5AEA-4440-906B-DEC84AD11F19}"/>
    <dgm:cxn modelId="{418078E2-D1AF-4397-B5CF-7B48FABA68A0}" type="presOf" srcId="{E3CA5C9C-4046-44BD-BD23-692B44D14D74}" destId="{A097A6CF-9EAC-4430-9593-81E6FD90A45A}" srcOrd="0" destOrd="0" presId="urn:microsoft.com/office/officeart/2005/8/layout/vList2"/>
    <dgm:cxn modelId="{6D1B4DF0-245C-4587-9257-B23396741A05}" srcId="{F7A54820-1179-41D0-9F0B-1C0C1D2DE876}" destId="{09678A35-919D-4F2C-8E8A-48A0D5830B87}" srcOrd="2" destOrd="0" parTransId="{1B836FDC-6C91-419A-A738-0F512FC77FD2}" sibTransId="{95A618A2-5356-4621-918E-05132B9EF544}"/>
    <dgm:cxn modelId="{B4A43427-E52E-4D33-8706-1BFCA5F21EC9}" type="presParOf" srcId="{456CAD0E-3613-4D47-AF50-80ADBF957F94}" destId="{A097A6CF-9EAC-4430-9593-81E6FD90A45A}" srcOrd="0" destOrd="0" presId="urn:microsoft.com/office/officeart/2005/8/layout/vList2"/>
    <dgm:cxn modelId="{458DE80C-8BB2-4E26-8497-A78227989919}" type="presParOf" srcId="{456CAD0E-3613-4D47-AF50-80ADBF957F94}" destId="{8D9E9FDA-9353-4F65-BA3D-936D45B22CB2}" srcOrd="1" destOrd="0" presId="urn:microsoft.com/office/officeart/2005/8/layout/vList2"/>
    <dgm:cxn modelId="{970CF965-E486-4DE0-9A17-E8F96E776902}" type="presParOf" srcId="{456CAD0E-3613-4D47-AF50-80ADBF957F94}" destId="{F4FEF3FC-9BCD-49CC-A9FB-C74CF051F99F}" srcOrd="2" destOrd="0" presId="urn:microsoft.com/office/officeart/2005/8/layout/vList2"/>
    <dgm:cxn modelId="{9E4C8B20-E266-4475-A177-A14F77A928DF}" type="presParOf" srcId="{456CAD0E-3613-4D47-AF50-80ADBF957F94}" destId="{BF868B0D-0175-4439-B8A4-21C3D1F38B29}" srcOrd="3" destOrd="0" presId="urn:microsoft.com/office/officeart/2005/8/layout/vList2"/>
    <dgm:cxn modelId="{3824EB0C-C44A-47DF-8FE1-0FD75E079C26}" type="presParOf" srcId="{456CAD0E-3613-4D47-AF50-80ADBF957F94}" destId="{9656EFC1-6C72-43BD-B835-5BA8B28AFC60}"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3F85593-57C3-40F8-8342-7AFBB93F9BC3}"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C4B74633-6284-4247-8368-2A82DC14C91B}">
      <dgm:prSet custT="1"/>
      <dgm:spPr/>
      <dgm:t>
        <a:bodyPr/>
        <a:lstStyle/>
        <a:p>
          <a:r>
            <a:rPr lang="en-US" sz="2400" dirty="0"/>
            <a:t>Table / Index Changes</a:t>
          </a:r>
        </a:p>
      </dgm:t>
    </dgm:pt>
    <dgm:pt modelId="{2610BBFE-1F2A-4D1B-AE8F-C4AEED1D2286}" type="parTrans" cxnId="{2C81B0A1-F3CE-418C-AF0E-CB7FB7C7A412}">
      <dgm:prSet/>
      <dgm:spPr/>
      <dgm:t>
        <a:bodyPr/>
        <a:lstStyle/>
        <a:p>
          <a:endParaRPr lang="en-US"/>
        </a:p>
      </dgm:t>
    </dgm:pt>
    <dgm:pt modelId="{5C29EB94-E6B7-438D-8002-BF61894FECB3}" type="sibTrans" cxnId="{2C81B0A1-F3CE-418C-AF0E-CB7FB7C7A412}">
      <dgm:prSet/>
      <dgm:spPr/>
      <dgm:t>
        <a:bodyPr/>
        <a:lstStyle/>
        <a:p>
          <a:endParaRPr lang="en-US"/>
        </a:p>
      </dgm:t>
    </dgm:pt>
    <dgm:pt modelId="{F7027B85-1BC6-4761-93EB-DB061EF1BEEB}">
      <dgm:prSet/>
      <dgm:spPr/>
      <dgm:t>
        <a:bodyPr/>
        <a:lstStyle/>
        <a:p>
          <a:r>
            <a:rPr lang="en-US" dirty="0"/>
            <a:t>Changes made to objects referenced by the query (ALTER TABLE and ALTER VIEW).</a:t>
          </a:r>
        </a:p>
      </dgm:t>
    </dgm:pt>
    <dgm:pt modelId="{1808F256-0DD6-4986-B3BD-94F4F0C7E037}" type="parTrans" cxnId="{146AD95E-C730-471F-A592-1CBF07B5215F}">
      <dgm:prSet/>
      <dgm:spPr/>
      <dgm:t>
        <a:bodyPr/>
        <a:lstStyle/>
        <a:p>
          <a:endParaRPr lang="en-US"/>
        </a:p>
      </dgm:t>
    </dgm:pt>
    <dgm:pt modelId="{C23743E0-7E97-443C-8549-E6965B314366}" type="sibTrans" cxnId="{146AD95E-C730-471F-A592-1CBF07B5215F}">
      <dgm:prSet/>
      <dgm:spPr/>
      <dgm:t>
        <a:bodyPr/>
        <a:lstStyle/>
        <a:p>
          <a:endParaRPr lang="en-US"/>
        </a:p>
      </dgm:t>
    </dgm:pt>
    <dgm:pt modelId="{6281B763-8F95-4BAF-BFE7-5B1A18834699}">
      <dgm:prSet/>
      <dgm:spPr/>
      <dgm:t>
        <a:bodyPr/>
        <a:lstStyle/>
        <a:p>
          <a:r>
            <a:rPr lang="en-US" dirty="0"/>
            <a:t>Changing or dropping any indexes used by the execution plan.</a:t>
          </a:r>
        </a:p>
      </dgm:t>
    </dgm:pt>
    <dgm:pt modelId="{21ABE8D6-8171-45C5-A7A9-A364B5D55D13}" type="parTrans" cxnId="{C9C35567-8C8D-47AF-A9A9-977FF6AC3415}">
      <dgm:prSet/>
      <dgm:spPr/>
      <dgm:t>
        <a:bodyPr/>
        <a:lstStyle/>
        <a:p>
          <a:endParaRPr lang="en-US"/>
        </a:p>
      </dgm:t>
    </dgm:pt>
    <dgm:pt modelId="{96FC877F-3756-42B6-8D59-559E67C2858C}" type="sibTrans" cxnId="{C9C35567-8C8D-47AF-A9A9-977FF6AC3415}">
      <dgm:prSet/>
      <dgm:spPr/>
      <dgm:t>
        <a:bodyPr/>
        <a:lstStyle/>
        <a:p>
          <a:endParaRPr lang="en-US"/>
        </a:p>
      </dgm:t>
    </dgm:pt>
    <dgm:pt modelId="{81D96F4F-D7EC-4739-BF6E-87346EA8B2D5}">
      <dgm:prSet custT="1"/>
      <dgm:spPr/>
      <dgm:t>
        <a:bodyPr/>
        <a:lstStyle/>
        <a:p>
          <a:r>
            <a:rPr lang="en-US" sz="2400" dirty="0"/>
            <a:t>Stored Procedures</a:t>
          </a:r>
        </a:p>
      </dgm:t>
    </dgm:pt>
    <dgm:pt modelId="{23C17D59-967F-440E-90F5-F2D7D12E3779}" type="parTrans" cxnId="{BA27FB59-DFB0-4203-836D-CE59FC073887}">
      <dgm:prSet/>
      <dgm:spPr/>
      <dgm:t>
        <a:bodyPr/>
        <a:lstStyle/>
        <a:p>
          <a:endParaRPr lang="en-US"/>
        </a:p>
      </dgm:t>
    </dgm:pt>
    <dgm:pt modelId="{A718AD11-1926-450D-A717-B61AFFCAA378}" type="sibTrans" cxnId="{BA27FB59-DFB0-4203-836D-CE59FC073887}">
      <dgm:prSet/>
      <dgm:spPr/>
      <dgm:t>
        <a:bodyPr/>
        <a:lstStyle/>
        <a:p>
          <a:endParaRPr lang="en-US"/>
        </a:p>
      </dgm:t>
    </dgm:pt>
    <dgm:pt modelId="{34675722-7C59-4704-9290-7A039D363E46}">
      <dgm:prSet/>
      <dgm:spPr/>
      <dgm:t>
        <a:bodyPr/>
        <a:lstStyle/>
        <a:p>
          <a:r>
            <a:rPr lang="en-US" dirty="0"/>
            <a:t>Changes made to a single procedure, which would drop all plans for that procedure from the cache (ALTER PROCEDURE).</a:t>
          </a:r>
        </a:p>
      </dgm:t>
    </dgm:pt>
    <dgm:pt modelId="{FE8F446E-C96F-4D37-A76B-040791962DFC}" type="parTrans" cxnId="{DE7F5754-2E40-49B8-886D-CA9925C6C0BB}">
      <dgm:prSet/>
      <dgm:spPr/>
      <dgm:t>
        <a:bodyPr/>
        <a:lstStyle/>
        <a:p>
          <a:endParaRPr lang="en-US"/>
        </a:p>
      </dgm:t>
    </dgm:pt>
    <dgm:pt modelId="{121CE28E-92C2-415C-B04C-8EEC6609FF6F}" type="sibTrans" cxnId="{DE7F5754-2E40-49B8-886D-CA9925C6C0BB}">
      <dgm:prSet/>
      <dgm:spPr/>
      <dgm:t>
        <a:bodyPr/>
        <a:lstStyle/>
        <a:p>
          <a:endParaRPr lang="en-US"/>
        </a:p>
      </dgm:t>
    </dgm:pt>
    <dgm:pt modelId="{7D8F7768-03F3-4934-917A-04717D94DFE8}">
      <dgm:prSet/>
      <dgm:spPr/>
      <dgm:t>
        <a:bodyPr/>
        <a:lstStyle/>
        <a:p>
          <a:r>
            <a:rPr lang="en-US" dirty="0"/>
            <a:t>Explicit call to sp_recompile.</a:t>
          </a:r>
        </a:p>
      </dgm:t>
    </dgm:pt>
    <dgm:pt modelId="{E59C9239-4253-4922-BC05-767C89651BA4}" type="parTrans" cxnId="{7F94D544-442E-4308-8DF6-42A9566CD83B}">
      <dgm:prSet/>
      <dgm:spPr/>
      <dgm:t>
        <a:bodyPr/>
        <a:lstStyle/>
        <a:p>
          <a:endParaRPr lang="en-US"/>
        </a:p>
      </dgm:t>
    </dgm:pt>
    <dgm:pt modelId="{3307DCFA-7692-4D46-9B73-8D7177C8445D}" type="sibTrans" cxnId="{7F94D544-442E-4308-8DF6-42A9566CD83B}">
      <dgm:prSet/>
      <dgm:spPr/>
      <dgm:t>
        <a:bodyPr/>
        <a:lstStyle/>
        <a:p>
          <a:endParaRPr lang="en-US"/>
        </a:p>
      </dgm:t>
    </dgm:pt>
    <dgm:pt modelId="{A48E72F0-225F-4DFC-AA8C-D0D11F0BAFA5}">
      <dgm:prSet/>
      <dgm:spPr/>
      <dgm:t>
        <a:bodyPr/>
        <a:lstStyle/>
        <a:p>
          <a:r>
            <a:rPr lang="en-US" dirty="0"/>
            <a:t>Executing a stored procedure using the WITH RECOMPILE option.</a:t>
          </a:r>
        </a:p>
      </dgm:t>
    </dgm:pt>
    <dgm:pt modelId="{80D53F7E-A81E-4023-83DF-A1613382F417}" type="parTrans" cxnId="{42502DD0-47E5-47FF-99DF-E7D76C0D2050}">
      <dgm:prSet/>
      <dgm:spPr/>
      <dgm:t>
        <a:bodyPr/>
        <a:lstStyle/>
        <a:p>
          <a:endParaRPr lang="en-US"/>
        </a:p>
      </dgm:t>
    </dgm:pt>
    <dgm:pt modelId="{5C6E6972-394D-4D9D-A26F-0C2CEBAE9750}" type="sibTrans" cxnId="{42502DD0-47E5-47FF-99DF-E7D76C0D2050}">
      <dgm:prSet/>
      <dgm:spPr/>
      <dgm:t>
        <a:bodyPr/>
        <a:lstStyle/>
        <a:p>
          <a:endParaRPr lang="en-US"/>
        </a:p>
      </dgm:t>
    </dgm:pt>
    <dgm:pt modelId="{2C0329F2-1669-4473-89A3-6C04A73A6EE1}">
      <dgm:prSet custT="1"/>
      <dgm:spPr/>
      <dgm:t>
        <a:bodyPr/>
        <a:lstStyle/>
        <a:p>
          <a:r>
            <a:rPr lang="en-US" sz="2400" dirty="0"/>
            <a:t>Data Volume </a:t>
          </a:r>
        </a:p>
      </dgm:t>
    </dgm:pt>
    <dgm:pt modelId="{F33FDC8E-FA63-43BF-8F02-D9A103ADC19C}" type="parTrans" cxnId="{17BC56CD-1DBD-4F51-A5E6-8D63C77BF6B7}">
      <dgm:prSet/>
      <dgm:spPr/>
      <dgm:t>
        <a:bodyPr/>
        <a:lstStyle/>
        <a:p>
          <a:endParaRPr lang="en-US"/>
        </a:p>
      </dgm:t>
    </dgm:pt>
    <dgm:pt modelId="{3B143A12-4CCA-4BAC-B489-077B5C39164B}" type="sibTrans" cxnId="{17BC56CD-1DBD-4F51-A5E6-8D63C77BF6B7}">
      <dgm:prSet/>
      <dgm:spPr/>
      <dgm:t>
        <a:bodyPr/>
        <a:lstStyle/>
        <a:p>
          <a:endParaRPr lang="en-US"/>
        </a:p>
      </dgm:t>
    </dgm:pt>
    <dgm:pt modelId="{8B258E8A-73A4-466C-B044-1E3C02411420}">
      <dgm:prSet/>
      <dgm:spPr/>
      <dgm:t>
        <a:bodyPr/>
        <a:lstStyle/>
        <a:p>
          <a:r>
            <a:rPr lang="en-US" dirty="0"/>
            <a:t>Updates on statistics used by the execution plan</a:t>
          </a:r>
        </a:p>
      </dgm:t>
    </dgm:pt>
    <dgm:pt modelId="{359CDC7C-6D96-44D6-940D-5A9C11881548}" type="parTrans" cxnId="{0F65CC24-5842-4C81-BFD3-B736E56EE296}">
      <dgm:prSet/>
      <dgm:spPr/>
      <dgm:t>
        <a:bodyPr/>
        <a:lstStyle/>
        <a:p>
          <a:endParaRPr lang="en-US"/>
        </a:p>
      </dgm:t>
    </dgm:pt>
    <dgm:pt modelId="{B73722FB-BD18-4612-B7E7-C2B9249BBE54}" type="sibTrans" cxnId="{0F65CC24-5842-4C81-BFD3-B736E56EE296}">
      <dgm:prSet/>
      <dgm:spPr/>
      <dgm:t>
        <a:bodyPr/>
        <a:lstStyle/>
        <a:p>
          <a:endParaRPr lang="en-US"/>
        </a:p>
      </dgm:t>
    </dgm:pt>
    <dgm:pt modelId="{5CDFF824-8B0D-41EC-A895-ECC1EB3D536F}">
      <dgm:prSet/>
      <dgm:spPr/>
      <dgm:t>
        <a:bodyPr/>
        <a:lstStyle/>
        <a:p>
          <a:r>
            <a:rPr lang="en-US" dirty="0"/>
            <a:t>For tables with triggers, if the number of rows in the inserted or deleted tables grows significantly.</a:t>
          </a:r>
        </a:p>
      </dgm:t>
    </dgm:pt>
    <dgm:pt modelId="{D63D7654-1ED6-41AB-A0D0-F93D88654505}" type="parTrans" cxnId="{BED89897-9FC1-4441-80EB-DB3DA34D926C}">
      <dgm:prSet/>
      <dgm:spPr/>
      <dgm:t>
        <a:bodyPr/>
        <a:lstStyle/>
        <a:p>
          <a:endParaRPr lang="en-US"/>
        </a:p>
      </dgm:t>
    </dgm:pt>
    <dgm:pt modelId="{1C4A0C3B-802E-45A3-BE2B-BB5EE39D50E5}" type="sibTrans" cxnId="{BED89897-9FC1-4441-80EB-DB3DA34D926C}">
      <dgm:prSet/>
      <dgm:spPr/>
      <dgm:t>
        <a:bodyPr/>
        <a:lstStyle/>
        <a:p>
          <a:endParaRPr lang="en-US"/>
        </a:p>
      </dgm:t>
    </dgm:pt>
    <dgm:pt modelId="{AF4D19B7-1AFF-428D-A00B-20249EED3EA2}">
      <dgm:prSet custT="1"/>
      <dgm:spPr/>
      <dgm:t>
        <a:bodyPr/>
        <a:lstStyle/>
        <a:p>
          <a:r>
            <a:rPr lang="en-US" sz="2400" dirty="0"/>
            <a:t>Other</a:t>
          </a:r>
        </a:p>
      </dgm:t>
    </dgm:pt>
    <dgm:pt modelId="{2FC2D696-169E-4421-9A4B-FB418E8E809A}" type="parTrans" cxnId="{7DF91BB4-251E-49D2-A126-EF60CAD59D38}">
      <dgm:prSet/>
      <dgm:spPr/>
      <dgm:t>
        <a:bodyPr/>
        <a:lstStyle/>
        <a:p>
          <a:endParaRPr lang="en-US"/>
        </a:p>
      </dgm:t>
    </dgm:pt>
    <dgm:pt modelId="{87BC6EF8-2763-4EF2-9CF1-28AA26F46209}" type="sibTrans" cxnId="{7DF91BB4-251E-49D2-A126-EF60CAD59D38}">
      <dgm:prSet/>
      <dgm:spPr/>
      <dgm:t>
        <a:bodyPr/>
        <a:lstStyle/>
        <a:p>
          <a:endParaRPr lang="en-US"/>
        </a:p>
      </dgm:t>
    </dgm:pt>
    <dgm:pt modelId="{F9C764F7-8271-465D-B636-6B8007DB7CCD}">
      <dgm:prSet/>
      <dgm:spPr/>
      <dgm:t>
        <a:bodyPr/>
        <a:lstStyle/>
        <a:p>
          <a:r>
            <a:rPr lang="en-US" dirty="0"/>
            <a:t>Large numbers of changes to keys (generated by statements from other users that modify a table referenced by the query).</a:t>
          </a:r>
        </a:p>
      </dgm:t>
    </dgm:pt>
    <dgm:pt modelId="{83F9E006-C48C-428B-92B6-259B598CA916}" type="parTrans" cxnId="{89B94312-664A-4615-9639-78E8CB1D595C}">
      <dgm:prSet/>
      <dgm:spPr/>
      <dgm:t>
        <a:bodyPr/>
        <a:lstStyle/>
        <a:p>
          <a:endParaRPr lang="en-US"/>
        </a:p>
      </dgm:t>
    </dgm:pt>
    <dgm:pt modelId="{175D3612-6975-4F4D-BB03-08B5186C02C6}" type="sibTrans" cxnId="{89B94312-664A-4615-9639-78E8CB1D595C}">
      <dgm:prSet/>
      <dgm:spPr/>
      <dgm:t>
        <a:bodyPr/>
        <a:lstStyle/>
        <a:p>
          <a:endParaRPr lang="en-US"/>
        </a:p>
      </dgm:t>
    </dgm:pt>
    <dgm:pt modelId="{E6F1BF31-AAAF-4384-A0D5-6CEF18705545}">
      <dgm:prSet/>
      <dgm:spPr/>
      <dgm:t>
        <a:bodyPr/>
        <a:lstStyle/>
        <a:p>
          <a:r>
            <a:rPr lang="en-US" dirty="0"/>
            <a:t>Temporary table changes</a:t>
          </a:r>
        </a:p>
      </dgm:t>
    </dgm:pt>
    <dgm:pt modelId="{9A4A2F7D-E0BA-4AC1-B638-19C7207ECEEE}" type="parTrans" cxnId="{695BEA5A-4B01-4075-B71E-E4353F95FE71}">
      <dgm:prSet/>
      <dgm:spPr/>
      <dgm:t>
        <a:bodyPr/>
        <a:lstStyle/>
        <a:p>
          <a:endParaRPr lang="en-US"/>
        </a:p>
      </dgm:t>
    </dgm:pt>
    <dgm:pt modelId="{225D4C56-0659-41A9-AB95-219DB3E4BFB8}" type="sibTrans" cxnId="{695BEA5A-4B01-4075-B71E-E4353F95FE71}">
      <dgm:prSet/>
      <dgm:spPr/>
      <dgm:t>
        <a:bodyPr/>
        <a:lstStyle/>
        <a:p>
          <a:endParaRPr lang="en-US"/>
        </a:p>
      </dgm:t>
    </dgm:pt>
    <dgm:pt modelId="{67D3527B-10B2-41F5-B7AB-BF82D946F313}" type="pres">
      <dgm:prSet presAssocID="{33F85593-57C3-40F8-8342-7AFBB93F9BC3}" presName="Name0" presStyleCnt="0">
        <dgm:presLayoutVars>
          <dgm:dir/>
          <dgm:animLvl val="lvl"/>
          <dgm:resizeHandles val="exact"/>
        </dgm:presLayoutVars>
      </dgm:prSet>
      <dgm:spPr/>
    </dgm:pt>
    <dgm:pt modelId="{4BEE8848-8CF4-4793-8DF6-B32F5E68A826}" type="pres">
      <dgm:prSet presAssocID="{C4B74633-6284-4247-8368-2A82DC14C91B}" presName="composite" presStyleCnt="0"/>
      <dgm:spPr/>
    </dgm:pt>
    <dgm:pt modelId="{DC24794B-3E4D-49A5-9802-3FDD49AD4833}" type="pres">
      <dgm:prSet presAssocID="{C4B74633-6284-4247-8368-2A82DC14C91B}" presName="parTx" presStyleLbl="alignNode1" presStyleIdx="0" presStyleCnt="4">
        <dgm:presLayoutVars>
          <dgm:chMax val="0"/>
          <dgm:chPref val="0"/>
          <dgm:bulletEnabled val="1"/>
        </dgm:presLayoutVars>
      </dgm:prSet>
      <dgm:spPr/>
    </dgm:pt>
    <dgm:pt modelId="{692384E3-A670-4ABB-966E-890EA55F6275}" type="pres">
      <dgm:prSet presAssocID="{C4B74633-6284-4247-8368-2A82DC14C91B}" presName="desTx" presStyleLbl="alignAccFollowNode1" presStyleIdx="0" presStyleCnt="4">
        <dgm:presLayoutVars>
          <dgm:bulletEnabled val="1"/>
        </dgm:presLayoutVars>
      </dgm:prSet>
      <dgm:spPr/>
    </dgm:pt>
    <dgm:pt modelId="{5AA4974C-9160-4E5C-A59E-AE81031BD6EC}" type="pres">
      <dgm:prSet presAssocID="{5C29EB94-E6B7-438D-8002-BF61894FECB3}" presName="space" presStyleCnt="0"/>
      <dgm:spPr/>
    </dgm:pt>
    <dgm:pt modelId="{11E953BB-8E0C-449B-A289-604841A324A4}" type="pres">
      <dgm:prSet presAssocID="{81D96F4F-D7EC-4739-BF6E-87346EA8B2D5}" presName="composite" presStyleCnt="0"/>
      <dgm:spPr/>
    </dgm:pt>
    <dgm:pt modelId="{49DF05AA-5F25-4000-9F09-8DCC5484F4DF}" type="pres">
      <dgm:prSet presAssocID="{81D96F4F-D7EC-4739-BF6E-87346EA8B2D5}" presName="parTx" presStyleLbl="alignNode1" presStyleIdx="1" presStyleCnt="4">
        <dgm:presLayoutVars>
          <dgm:chMax val="0"/>
          <dgm:chPref val="0"/>
          <dgm:bulletEnabled val="1"/>
        </dgm:presLayoutVars>
      </dgm:prSet>
      <dgm:spPr/>
    </dgm:pt>
    <dgm:pt modelId="{BC544579-0BC5-4301-AA18-F0F341407B87}" type="pres">
      <dgm:prSet presAssocID="{81D96F4F-D7EC-4739-BF6E-87346EA8B2D5}" presName="desTx" presStyleLbl="alignAccFollowNode1" presStyleIdx="1" presStyleCnt="4">
        <dgm:presLayoutVars>
          <dgm:bulletEnabled val="1"/>
        </dgm:presLayoutVars>
      </dgm:prSet>
      <dgm:spPr/>
    </dgm:pt>
    <dgm:pt modelId="{BF005B85-844B-45B6-8AE0-9C4FBF0EBE3A}" type="pres">
      <dgm:prSet presAssocID="{A718AD11-1926-450D-A717-B61AFFCAA378}" presName="space" presStyleCnt="0"/>
      <dgm:spPr/>
    </dgm:pt>
    <dgm:pt modelId="{D738B23B-373D-47D6-9BAE-3CCBA081EC00}" type="pres">
      <dgm:prSet presAssocID="{2C0329F2-1669-4473-89A3-6C04A73A6EE1}" presName="composite" presStyleCnt="0"/>
      <dgm:spPr/>
    </dgm:pt>
    <dgm:pt modelId="{1D63FA16-3735-498C-9B05-F128A7CD58DC}" type="pres">
      <dgm:prSet presAssocID="{2C0329F2-1669-4473-89A3-6C04A73A6EE1}" presName="parTx" presStyleLbl="alignNode1" presStyleIdx="2" presStyleCnt="4">
        <dgm:presLayoutVars>
          <dgm:chMax val="0"/>
          <dgm:chPref val="0"/>
          <dgm:bulletEnabled val="1"/>
        </dgm:presLayoutVars>
      </dgm:prSet>
      <dgm:spPr/>
    </dgm:pt>
    <dgm:pt modelId="{987B902B-F277-421C-BE02-7F35A336CBAE}" type="pres">
      <dgm:prSet presAssocID="{2C0329F2-1669-4473-89A3-6C04A73A6EE1}" presName="desTx" presStyleLbl="alignAccFollowNode1" presStyleIdx="2" presStyleCnt="4">
        <dgm:presLayoutVars>
          <dgm:bulletEnabled val="1"/>
        </dgm:presLayoutVars>
      </dgm:prSet>
      <dgm:spPr/>
    </dgm:pt>
    <dgm:pt modelId="{3B844AE6-54CF-4DB0-A954-E507D770A822}" type="pres">
      <dgm:prSet presAssocID="{3B143A12-4CCA-4BAC-B489-077B5C39164B}" presName="space" presStyleCnt="0"/>
      <dgm:spPr/>
    </dgm:pt>
    <dgm:pt modelId="{350BF707-06E2-4258-8480-790AFFDEBD1F}" type="pres">
      <dgm:prSet presAssocID="{AF4D19B7-1AFF-428D-A00B-20249EED3EA2}" presName="composite" presStyleCnt="0"/>
      <dgm:spPr/>
    </dgm:pt>
    <dgm:pt modelId="{A1B832A2-484A-4A54-B410-9FEFA46DEBBC}" type="pres">
      <dgm:prSet presAssocID="{AF4D19B7-1AFF-428D-A00B-20249EED3EA2}" presName="parTx" presStyleLbl="alignNode1" presStyleIdx="3" presStyleCnt="4">
        <dgm:presLayoutVars>
          <dgm:chMax val="0"/>
          <dgm:chPref val="0"/>
          <dgm:bulletEnabled val="1"/>
        </dgm:presLayoutVars>
      </dgm:prSet>
      <dgm:spPr/>
    </dgm:pt>
    <dgm:pt modelId="{8AE9F398-0D24-4499-AAA5-821316E97008}" type="pres">
      <dgm:prSet presAssocID="{AF4D19B7-1AFF-428D-A00B-20249EED3EA2}" presName="desTx" presStyleLbl="alignAccFollowNode1" presStyleIdx="3" presStyleCnt="4">
        <dgm:presLayoutVars>
          <dgm:bulletEnabled val="1"/>
        </dgm:presLayoutVars>
      </dgm:prSet>
      <dgm:spPr/>
    </dgm:pt>
  </dgm:ptLst>
  <dgm:cxnLst>
    <dgm:cxn modelId="{EDD30110-AF48-4CA7-A965-8A45FA45B153}" type="presOf" srcId="{7D8F7768-03F3-4934-917A-04717D94DFE8}" destId="{BC544579-0BC5-4301-AA18-F0F341407B87}" srcOrd="0" destOrd="1" presId="urn:microsoft.com/office/officeart/2005/8/layout/hList1"/>
    <dgm:cxn modelId="{89B94312-664A-4615-9639-78E8CB1D595C}" srcId="{AF4D19B7-1AFF-428D-A00B-20249EED3EA2}" destId="{F9C764F7-8271-465D-B636-6B8007DB7CCD}" srcOrd="0" destOrd="0" parTransId="{83F9E006-C48C-428B-92B6-259B598CA916}" sibTransId="{175D3612-6975-4F4D-BB03-08B5186C02C6}"/>
    <dgm:cxn modelId="{63694C15-0E9C-4F59-8556-3BB3188A7BB8}" type="presOf" srcId="{5CDFF824-8B0D-41EC-A895-ECC1EB3D536F}" destId="{987B902B-F277-421C-BE02-7F35A336CBAE}" srcOrd="0" destOrd="1" presId="urn:microsoft.com/office/officeart/2005/8/layout/hList1"/>
    <dgm:cxn modelId="{0F65CC24-5842-4C81-BFD3-B736E56EE296}" srcId="{2C0329F2-1669-4473-89A3-6C04A73A6EE1}" destId="{8B258E8A-73A4-466C-B044-1E3C02411420}" srcOrd="0" destOrd="0" parTransId="{359CDC7C-6D96-44D6-940D-5A9C11881548}" sibTransId="{B73722FB-BD18-4612-B7E7-C2B9249BBE54}"/>
    <dgm:cxn modelId="{9D51E428-0C20-459B-B703-C8082070E4D2}" type="presOf" srcId="{34675722-7C59-4704-9290-7A039D363E46}" destId="{BC544579-0BC5-4301-AA18-F0F341407B87}" srcOrd="0" destOrd="0" presId="urn:microsoft.com/office/officeart/2005/8/layout/hList1"/>
    <dgm:cxn modelId="{146AD95E-C730-471F-A592-1CBF07B5215F}" srcId="{C4B74633-6284-4247-8368-2A82DC14C91B}" destId="{F7027B85-1BC6-4761-93EB-DB061EF1BEEB}" srcOrd="0" destOrd="0" parTransId="{1808F256-0DD6-4986-B3BD-94F4F0C7E037}" sibTransId="{C23743E0-7E97-443C-8549-E6965B314366}"/>
    <dgm:cxn modelId="{00BFC064-FFBA-4D9E-A2C8-C3ECC8982B72}" type="presOf" srcId="{A48E72F0-225F-4DFC-AA8C-D0D11F0BAFA5}" destId="{BC544579-0BC5-4301-AA18-F0F341407B87}" srcOrd="0" destOrd="2" presId="urn:microsoft.com/office/officeart/2005/8/layout/hList1"/>
    <dgm:cxn modelId="{7F94D544-442E-4308-8DF6-42A9566CD83B}" srcId="{81D96F4F-D7EC-4739-BF6E-87346EA8B2D5}" destId="{7D8F7768-03F3-4934-917A-04717D94DFE8}" srcOrd="1" destOrd="0" parTransId="{E59C9239-4253-4922-BC05-767C89651BA4}" sibTransId="{3307DCFA-7692-4D46-9B73-8D7177C8445D}"/>
    <dgm:cxn modelId="{C9C35567-8C8D-47AF-A9A9-977FF6AC3415}" srcId="{C4B74633-6284-4247-8368-2A82DC14C91B}" destId="{6281B763-8F95-4BAF-BFE7-5B1A18834699}" srcOrd="1" destOrd="0" parTransId="{21ABE8D6-8171-45C5-A7A9-A364B5D55D13}" sibTransId="{96FC877F-3756-42B6-8D59-559E67C2858C}"/>
    <dgm:cxn modelId="{43B1BF4D-A92B-4752-82D1-E5C012226FB7}" type="presOf" srcId="{C4B74633-6284-4247-8368-2A82DC14C91B}" destId="{DC24794B-3E4D-49A5-9802-3FDD49AD4833}" srcOrd="0" destOrd="0" presId="urn:microsoft.com/office/officeart/2005/8/layout/hList1"/>
    <dgm:cxn modelId="{FD05E270-885C-403A-8F3B-069D9DED6E79}" type="presOf" srcId="{2C0329F2-1669-4473-89A3-6C04A73A6EE1}" destId="{1D63FA16-3735-498C-9B05-F128A7CD58DC}" srcOrd="0" destOrd="0" presId="urn:microsoft.com/office/officeart/2005/8/layout/hList1"/>
    <dgm:cxn modelId="{486F5671-018F-472B-B5B3-8D789A8E9F52}" type="presOf" srcId="{81D96F4F-D7EC-4739-BF6E-87346EA8B2D5}" destId="{49DF05AA-5F25-4000-9F09-8DCC5484F4DF}" srcOrd="0" destOrd="0" presId="urn:microsoft.com/office/officeart/2005/8/layout/hList1"/>
    <dgm:cxn modelId="{DE7F5754-2E40-49B8-886D-CA9925C6C0BB}" srcId="{81D96F4F-D7EC-4739-BF6E-87346EA8B2D5}" destId="{34675722-7C59-4704-9290-7A039D363E46}" srcOrd="0" destOrd="0" parTransId="{FE8F446E-C96F-4D37-A76B-040791962DFC}" sibTransId="{121CE28E-92C2-415C-B04C-8EEC6609FF6F}"/>
    <dgm:cxn modelId="{BA27FB59-DFB0-4203-836D-CE59FC073887}" srcId="{33F85593-57C3-40F8-8342-7AFBB93F9BC3}" destId="{81D96F4F-D7EC-4739-BF6E-87346EA8B2D5}" srcOrd="1" destOrd="0" parTransId="{23C17D59-967F-440E-90F5-F2D7D12E3779}" sibTransId="{A718AD11-1926-450D-A717-B61AFFCAA378}"/>
    <dgm:cxn modelId="{695BEA5A-4B01-4075-B71E-E4353F95FE71}" srcId="{AF4D19B7-1AFF-428D-A00B-20249EED3EA2}" destId="{E6F1BF31-AAAF-4384-A0D5-6CEF18705545}" srcOrd="1" destOrd="0" parTransId="{9A4A2F7D-E0BA-4AC1-B638-19C7207ECEEE}" sibTransId="{225D4C56-0659-41A9-AB95-219DB3E4BFB8}"/>
    <dgm:cxn modelId="{BED89897-9FC1-4441-80EB-DB3DA34D926C}" srcId="{2C0329F2-1669-4473-89A3-6C04A73A6EE1}" destId="{5CDFF824-8B0D-41EC-A895-ECC1EB3D536F}" srcOrd="1" destOrd="0" parTransId="{D63D7654-1ED6-41AB-A0D0-F93D88654505}" sibTransId="{1C4A0C3B-802E-45A3-BE2B-BB5EE39D50E5}"/>
    <dgm:cxn modelId="{2C81B0A1-F3CE-418C-AF0E-CB7FB7C7A412}" srcId="{33F85593-57C3-40F8-8342-7AFBB93F9BC3}" destId="{C4B74633-6284-4247-8368-2A82DC14C91B}" srcOrd="0" destOrd="0" parTransId="{2610BBFE-1F2A-4D1B-AE8F-C4AEED1D2286}" sibTransId="{5C29EB94-E6B7-438D-8002-BF61894FECB3}"/>
    <dgm:cxn modelId="{7DF91BB4-251E-49D2-A126-EF60CAD59D38}" srcId="{33F85593-57C3-40F8-8342-7AFBB93F9BC3}" destId="{AF4D19B7-1AFF-428D-A00B-20249EED3EA2}" srcOrd="3" destOrd="0" parTransId="{2FC2D696-169E-4421-9A4B-FB418E8E809A}" sibTransId="{87BC6EF8-2763-4EF2-9CF1-28AA26F46209}"/>
    <dgm:cxn modelId="{2635F2BB-C6EB-4D61-A090-357B14DACAAF}" type="presOf" srcId="{F7027B85-1BC6-4761-93EB-DB061EF1BEEB}" destId="{692384E3-A670-4ABB-966E-890EA55F6275}" srcOrd="0" destOrd="0" presId="urn:microsoft.com/office/officeart/2005/8/layout/hList1"/>
    <dgm:cxn modelId="{17BC56CD-1DBD-4F51-A5E6-8D63C77BF6B7}" srcId="{33F85593-57C3-40F8-8342-7AFBB93F9BC3}" destId="{2C0329F2-1669-4473-89A3-6C04A73A6EE1}" srcOrd="2" destOrd="0" parTransId="{F33FDC8E-FA63-43BF-8F02-D9A103ADC19C}" sibTransId="{3B143A12-4CCA-4BAC-B489-077B5C39164B}"/>
    <dgm:cxn modelId="{42502DD0-47E5-47FF-99DF-E7D76C0D2050}" srcId="{81D96F4F-D7EC-4739-BF6E-87346EA8B2D5}" destId="{A48E72F0-225F-4DFC-AA8C-D0D11F0BAFA5}" srcOrd="2" destOrd="0" parTransId="{80D53F7E-A81E-4023-83DF-A1613382F417}" sibTransId="{5C6E6972-394D-4D9D-A26F-0C2CEBAE9750}"/>
    <dgm:cxn modelId="{5F3062D4-4F8C-422A-AAA5-44C2370E0399}" type="presOf" srcId="{8B258E8A-73A4-466C-B044-1E3C02411420}" destId="{987B902B-F277-421C-BE02-7F35A336CBAE}" srcOrd="0" destOrd="0" presId="urn:microsoft.com/office/officeart/2005/8/layout/hList1"/>
    <dgm:cxn modelId="{2A136DD4-40B5-4326-9081-3A3D2013E376}" type="presOf" srcId="{AF4D19B7-1AFF-428D-A00B-20249EED3EA2}" destId="{A1B832A2-484A-4A54-B410-9FEFA46DEBBC}" srcOrd="0" destOrd="0" presId="urn:microsoft.com/office/officeart/2005/8/layout/hList1"/>
    <dgm:cxn modelId="{B02533E2-43E7-4682-9DA2-1378F96B98F7}" type="presOf" srcId="{E6F1BF31-AAAF-4384-A0D5-6CEF18705545}" destId="{8AE9F398-0D24-4499-AAA5-821316E97008}" srcOrd="0" destOrd="1" presId="urn:microsoft.com/office/officeart/2005/8/layout/hList1"/>
    <dgm:cxn modelId="{2357C6E7-10EC-4ECB-A700-3D6FD5BCAD72}" type="presOf" srcId="{33F85593-57C3-40F8-8342-7AFBB93F9BC3}" destId="{67D3527B-10B2-41F5-B7AB-BF82D946F313}" srcOrd="0" destOrd="0" presId="urn:microsoft.com/office/officeart/2005/8/layout/hList1"/>
    <dgm:cxn modelId="{04AD7AF8-37C4-4763-9E49-D10BEB9F9672}" type="presOf" srcId="{F9C764F7-8271-465D-B636-6B8007DB7CCD}" destId="{8AE9F398-0D24-4499-AAA5-821316E97008}" srcOrd="0" destOrd="0" presId="urn:microsoft.com/office/officeart/2005/8/layout/hList1"/>
    <dgm:cxn modelId="{ECD96BFC-861E-4B77-B464-FD7ABC438682}" type="presOf" srcId="{6281B763-8F95-4BAF-BFE7-5B1A18834699}" destId="{692384E3-A670-4ABB-966E-890EA55F6275}" srcOrd="0" destOrd="1" presId="urn:microsoft.com/office/officeart/2005/8/layout/hList1"/>
    <dgm:cxn modelId="{1C0CAD7D-0023-4D8D-8A37-0463D09D6800}" type="presParOf" srcId="{67D3527B-10B2-41F5-B7AB-BF82D946F313}" destId="{4BEE8848-8CF4-4793-8DF6-B32F5E68A826}" srcOrd="0" destOrd="0" presId="urn:microsoft.com/office/officeart/2005/8/layout/hList1"/>
    <dgm:cxn modelId="{468CC144-0F5F-41FA-9652-97A14D229DC8}" type="presParOf" srcId="{4BEE8848-8CF4-4793-8DF6-B32F5E68A826}" destId="{DC24794B-3E4D-49A5-9802-3FDD49AD4833}" srcOrd="0" destOrd="0" presId="urn:microsoft.com/office/officeart/2005/8/layout/hList1"/>
    <dgm:cxn modelId="{3056091C-2D61-4B4C-8D0D-CD8A0A24B7D3}" type="presParOf" srcId="{4BEE8848-8CF4-4793-8DF6-B32F5E68A826}" destId="{692384E3-A670-4ABB-966E-890EA55F6275}" srcOrd="1" destOrd="0" presId="urn:microsoft.com/office/officeart/2005/8/layout/hList1"/>
    <dgm:cxn modelId="{3E6E3B30-6FB0-4E0D-970A-827D7F52AA75}" type="presParOf" srcId="{67D3527B-10B2-41F5-B7AB-BF82D946F313}" destId="{5AA4974C-9160-4E5C-A59E-AE81031BD6EC}" srcOrd="1" destOrd="0" presId="urn:microsoft.com/office/officeart/2005/8/layout/hList1"/>
    <dgm:cxn modelId="{96CE66C4-3D4E-4390-890B-67A18E822DE9}" type="presParOf" srcId="{67D3527B-10B2-41F5-B7AB-BF82D946F313}" destId="{11E953BB-8E0C-449B-A289-604841A324A4}" srcOrd="2" destOrd="0" presId="urn:microsoft.com/office/officeart/2005/8/layout/hList1"/>
    <dgm:cxn modelId="{3033F7E0-1803-42FA-8D33-5A39AD5711F1}" type="presParOf" srcId="{11E953BB-8E0C-449B-A289-604841A324A4}" destId="{49DF05AA-5F25-4000-9F09-8DCC5484F4DF}" srcOrd="0" destOrd="0" presId="urn:microsoft.com/office/officeart/2005/8/layout/hList1"/>
    <dgm:cxn modelId="{8A1E0AF2-EE7A-4EDA-99A2-30DE0C1DDE81}" type="presParOf" srcId="{11E953BB-8E0C-449B-A289-604841A324A4}" destId="{BC544579-0BC5-4301-AA18-F0F341407B87}" srcOrd="1" destOrd="0" presId="urn:microsoft.com/office/officeart/2005/8/layout/hList1"/>
    <dgm:cxn modelId="{0BC19693-09F1-43ED-903E-6464CB87953D}" type="presParOf" srcId="{67D3527B-10B2-41F5-B7AB-BF82D946F313}" destId="{BF005B85-844B-45B6-8AE0-9C4FBF0EBE3A}" srcOrd="3" destOrd="0" presId="urn:microsoft.com/office/officeart/2005/8/layout/hList1"/>
    <dgm:cxn modelId="{8BBABA48-8BDB-4ABA-BDE2-33D9B6E26763}" type="presParOf" srcId="{67D3527B-10B2-41F5-B7AB-BF82D946F313}" destId="{D738B23B-373D-47D6-9BAE-3CCBA081EC00}" srcOrd="4" destOrd="0" presId="urn:microsoft.com/office/officeart/2005/8/layout/hList1"/>
    <dgm:cxn modelId="{A47F833A-B9D2-4305-A00B-5F1D42449C6A}" type="presParOf" srcId="{D738B23B-373D-47D6-9BAE-3CCBA081EC00}" destId="{1D63FA16-3735-498C-9B05-F128A7CD58DC}" srcOrd="0" destOrd="0" presId="urn:microsoft.com/office/officeart/2005/8/layout/hList1"/>
    <dgm:cxn modelId="{99D35CDE-F7FF-495C-8A24-8722E0343FBB}" type="presParOf" srcId="{D738B23B-373D-47D6-9BAE-3CCBA081EC00}" destId="{987B902B-F277-421C-BE02-7F35A336CBAE}" srcOrd="1" destOrd="0" presId="urn:microsoft.com/office/officeart/2005/8/layout/hList1"/>
    <dgm:cxn modelId="{64A7C257-38B0-47C2-B538-BED2BECB8359}" type="presParOf" srcId="{67D3527B-10B2-41F5-B7AB-BF82D946F313}" destId="{3B844AE6-54CF-4DB0-A954-E507D770A822}" srcOrd="5" destOrd="0" presId="urn:microsoft.com/office/officeart/2005/8/layout/hList1"/>
    <dgm:cxn modelId="{74519784-86DE-43CD-8D96-838878E35151}" type="presParOf" srcId="{67D3527B-10B2-41F5-B7AB-BF82D946F313}" destId="{350BF707-06E2-4258-8480-790AFFDEBD1F}" srcOrd="6" destOrd="0" presId="urn:microsoft.com/office/officeart/2005/8/layout/hList1"/>
    <dgm:cxn modelId="{798F5A9B-4BC3-4862-80BC-6855344B75EC}" type="presParOf" srcId="{350BF707-06E2-4258-8480-790AFFDEBD1F}" destId="{A1B832A2-484A-4A54-B410-9FEFA46DEBBC}" srcOrd="0" destOrd="0" presId="urn:microsoft.com/office/officeart/2005/8/layout/hList1"/>
    <dgm:cxn modelId="{083AD1D4-764B-4E5B-91A8-736B7CF48053}" type="presParOf" srcId="{350BF707-06E2-4258-8480-790AFFDEBD1F}" destId="{8AE9F398-0D24-4499-AAA5-821316E9700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142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U</a:t>
          </a:r>
          <a:r>
            <a:rPr lang="en-US" sz="2800" b="0" i="0" kern="1200" dirty="0"/>
            <a:t>ser permissions are checked.</a:t>
          </a:r>
          <a:endParaRPr lang="en-US" sz="2800" kern="1200" dirty="0"/>
        </a:p>
      </dsp:txBody>
      <dsp:txXfrm>
        <a:off x="42036" y="56321"/>
        <a:ext cx="10277102" cy="777048"/>
      </dsp:txXfrm>
    </dsp:sp>
    <dsp:sp modelId="{E0E1D3EC-81AB-4DDF-9698-FB3E21CBBA67}">
      <dsp:nvSpPr>
        <dsp:cNvPr id="0" name=""/>
        <dsp:cNvSpPr/>
      </dsp:nvSpPr>
      <dsp:spPr>
        <a:xfrm>
          <a:off x="0" y="10078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Does </a:t>
          </a:r>
          <a:r>
            <a:rPr lang="en-US" sz="2800" kern="1200" dirty="0"/>
            <a:t>a cached plan exist?</a:t>
          </a:r>
        </a:p>
      </dsp:txBody>
      <dsp:txXfrm>
        <a:off x="42036" y="1049921"/>
        <a:ext cx="10277102" cy="777048"/>
      </dsp:txXfrm>
    </dsp:sp>
    <dsp:sp modelId="{7857B639-65CC-486C-8EFD-A918198FC586}">
      <dsp:nvSpPr>
        <dsp:cNvPr id="0" name=""/>
        <dsp:cNvSpPr/>
      </dsp:nvSpPr>
      <dsp:spPr>
        <a:xfrm>
          <a:off x="0" y="20014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Object names (Tables, Views, Columns, etc.) to see if they exist. </a:t>
          </a:r>
          <a:endParaRPr lang="en-US" sz="2800" kern="1200" dirty="0"/>
        </a:p>
      </dsp:txBody>
      <dsp:txXfrm>
        <a:off x="42036" y="2043521"/>
        <a:ext cx="10277102" cy="777048"/>
      </dsp:txXfrm>
    </dsp:sp>
    <dsp:sp modelId="{524A67A9-B79C-4B23-9404-C87D61A30585}">
      <dsp:nvSpPr>
        <dsp:cNvPr id="0" name=""/>
        <dsp:cNvSpPr/>
      </dsp:nvSpPr>
      <dsp:spPr>
        <a:xfrm>
          <a:off x="0" y="29950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Resolve aliases of columns and tables</a:t>
          </a:r>
          <a:endParaRPr lang="en-US" sz="2800" kern="1200" dirty="0"/>
        </a:p>
      </dsp:txBody>
      <dsp:txXfrm>
        <a:off x="42036" y="3037122"/>
        <a:ext cx="10277102" cy="777048"/>
      </dsp:txXfrm>
    </dsp:sp>
    <dsp:sp modelId="{4542E025-F95B-427C-9891-4B9526118B82}">
      <dsp:nvSpPr>
        <dsp:cNvPr id="0" name=""/>
        <dsp:cNvSpPr/>
      </dsp:nvSpPr>
      <dsp:spPr>
        <a:xfrm>
          <a:off x="0" y="39886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D</a:t>
          </a:r>
          <a:r>
            <a:rPr lang="en-US" sz="2800" b="0" i="0" kern="1200" dirty="0"/>
            <a:t>ata types and if </a:t>
          </a:r>
          <a:r>
            <a:rPr lang="en-US" sz="2800" b="0" i="0" u="none" kern="1200" dirty="0"/>
            <a:t>implicit data type conversions are needed.</a:t>
          </a:r>
          <a:endParaRPr lang="en-US" sz="2800" b="0" u="none" kern="1200" dirty="0"/>
        </a:p>
      </dsp:txBody>
      <dsp:txXfrm>
        <a:off x="42036" y="4030722"/>
        <a:ext cx="10277102" cy="7770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5883"/>
          <a:ext cx="10880725" cy="10143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is meant by SQL Server’s query optimizer being </a:t>
          </a:r>
          <a:r>
            <a:rPr lang="en-US" sz="2400" b="1" kern="1200" noProof="0" dirty="0"/>
            <a:t>cost-based</a:t>
          </a:r>
          <a:r>
            <a:rPr lang="en-US" sz="2400" kern="1200" noProof="0" dirty="0"/>
            <a:t>?</a:t>
          </a:r>
        </a:p>
      </dsp:txBody>
      <dsp:txXfrm>
        <a:off x="49518" y="65401"/>
        <a:ext cx="10781689" cy="915353"/>
      </dsp:txXfrm>
    </dsp:sp>
    <dsp:sp modelId="{6037B00E-7DBF-4F2F-9E9B-D69D8C39F86D}">
      <dsp:nvSpPr>
        <dsp:cNvPr id="0" name=""/>
        <dsp:cNvSpPr/>
      </dsp:nvSpPr>
      <dsp:spPr>
        <a:xfrm>
          <a:off x="0" y="1128193"/>
          <a:ext cx="10880725" cy="101438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en is a query considered for a parallel execution plan?</a:t>
          </a:r>
        </a:p>
      </dsp:txBody>
      <dsp:txXfrm>
        <a:off x="49518" y="1177711"/>
        <a:ext cx="10781689" cy="915353"/>
      </dsp:txXfrm>
    </dsp:sp>
    <dsp:sp modelId="{07D5096F-59A6-4584-8AE2-7D48D2425A11}">
      <dsp:nvSpPr>
        <dsp:cNvPr id="0" name=""/>
        <dsp:cNvSpPr/>
      </dsp:nvSpPr>
      <dsp:spPr>
        <a:xfrm>
          <a:off x="0" y="2240503"/>
          <a:ext cx="10880725" cy="101438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ill SQL Server evaluate </a:t>
          </a:r>
          <a:r>
            <a:rPr lang="en-US" sz="2400" b="1" kern="1200" noProof="0" dirty="0"/>
            <a:t>every</a:t>
          </a:r>
          <a:r>
            <a:rPr lang="en-US" sz="2400" kern="1200" noProof="0" dirty="0"/>
            <a:t> possible query plan in the process of optimization? Why?</a:t>
          </a:r>
        </a:p>
      </dsp:txBody>
      <dsp:txXfrm>
        <a:off x="49518" y="2290021"/>
        <a:ext cx="10781689" cy="915353"/>
      </dsp:txXfrm>
    </dsp:sp>
    <dsp:sp modelId="{8625910E-75FB-4C25-8D86-5C14BF853FEE}">
      <dsp:nvSpPr>
        <dsp:cNvPr id="0" name=""/>
        <dsp:cNvSpPr/>
      </dsp:nvSpPr>
      <dsp:spPr>
        <a:xfrm>
          <a:off x="0" y="3352813"/>
          <a:ext cx="10880725" cy="101438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Name two recompilation causes.</a:t>
          </a:r>
        </a:p>
      </dsp:txBody>
      <dsp:txXfrm>
        <a:off x="49518" y="3402331"/>
        <a:ext cx="10781689" cy="91535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8589D-BD4A-49AE-87C3-4C0A359F4B92}">
      <dsp:nvSpPr>
        <dsp:cNvPr id="0" name=""/>
        <dsp:cNvSpPr/>
      </dsp:nvSpPr>
      <dsp:spPr>
        <a:xfrm>
          <a:off x="0" y="253683"/>
          <a:ext cx="11079164" cy="73631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The compiled plan.</a:t>
          </a:r>
          <a:endParaRPr lang="en-US" sz="1700" kern="1200" dirty="0"/>
        </a:p>
      </dsp:txBody>
      <dsp:txXfrm>
        <a:off x="0" y="253683"/>
        <a:ext cx="11079164" cy="736312"/>
      </dsp:txXfrm>
    </dsp:sp>
    <dsp:sp modelId="{FE5D72FD-32BF-4AE2-ACA8-290580A168D3}">
      <dsp:nvSpPr>
        <dsp:cNvPr id="0" name=""/>
        <dsp:cNvSpPr/>
      </dsp:nvSpPr>
      <dsp:spPr>
        <a:xfrm>
          <a:off x="553958" y="2763"/>
          <a:ext cx="7755414"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Estimated Execution Plan (Before Execution)</a:t>
          </a:r>
        </a:p>
      </dsp:txBody>
      <dsp:txXfrm>
        <a:off x="578456" y="27261"/>
        <a:ext cx="7706418" cy="452844"/>
      </dsp:txXfrm>
    </dsp:sp>
    <dsp:sp modelId="{A5DC065D-A216-4D8A-8BAA-A263DD53A95C}">
      <dsp:nvSpPr>
        <dsp:cNvPr id="0" name=""/>
        <dsp:cNvSpPr/>
      </dsp:nvSpPr>
      <dsp:spPr>
        <a:xfrm>
          <a:off x="0" y="1332715"/>
          <a:ext cx="11079164" cy="155295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 </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available after the execution completes, such as execution warnings, or in newer versions of the Database Engine, the elapsed and CPU time used during execution.</a:t>
          </a:r>
        </a:p>
      </dsp:txBody>
      <dsp:txXfrm>
        <a:off x="0" y="1332715"/>
        <a:ext cx="11079164" cy="1552950"/>
      </dsp:txXfrm>
    </dsp:sp>
    <dsp:sp modelId="{1FB297A9-E852-47A8-AEAB-9200D7CC69EB}">
      <dsp:nvSpPr>
        <dsp:cNvPr id="0" name=""/>
        <dsp:cNvSpPr/>
      </dsp:nvSpPr>
      <dsp:spPr>
        <a:xfrm>
          <a:off x="553958" y="1081795"/>
          <a:ext cx="7755414" cy="50184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rPr>
            <a:t>Actual Execution Plan (After Execution)</a:t>
          </a:r>
        </a:p>
      </dsp:txBody>
      <dsp:txXfrm>
        <a:off x="578456" y="1106293"/>
        <a:ext cx="7706418" cy="452844"/>
      </dsp:txXfrm>
    </dsp:sp>
    <dsp:sp modelId="{4B56EDFF-9421-4654-A094-7450365BA1B6}">
      <dsp:nvSpPr>
        <dsp:cNvPr id="0" name=""/>
        <dsp:cNvSpPr/>
      </dsp:nvSpPr>
      <dsp:spPr>
        <a:xfrm>
          <a:off x="0" y="3228385"/>
          <a:ext cx="11079164" cy="187425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during execution progress and is updated every second. Runtime information includes for example the actual number of rows flowing through the operators.</a:t>
          </a:r>
        </a:p>
        <a:p>
          <a:pPr marL="0" lvl="1" indent="0" algn="l" defTabSz="755650">
            <a:lnSpc>
              <a:spcPct val="90000"/>
            </a:lnSpc>
            <a:spcBef>
              <a:spcPct val="0"/>
            </a:spcBef>
            <a:spcAft>
              <a:spcPct val="15000"/>
            </a:spcAft>
            <a:buFont typeface="Arial" panose="020B0604020202020204" pitchFamily="34" charset="0"/>
            <a:buChar char="•"/>
          </a:pPr>
          <a:r>
            <a:rPr lang="en-US" sz="1700" kern="1200" dirty="0"/>
            <a:t>Enables rapid identification of potential bottlenecks.</a:t>
          </a:r>
          <a:endParaRPr lang="en-US" sz="1700" b="0" i="0" kern="1200" dirty="0"/>
        </a:p>
      </dsp:txBody>
      <dsp:txXfrm>
        <a:off x="0" y="3228385"/>
        <a:ext cx="11079164" cy="1874250"/>
      </dsp:txXfrm>
    </dsp:sp>
    <dsp:sp modelId="{F1481B12-F96B-4E05-BC6B-8478930FEF5C}">
      <dsp:nvSpPr>
        <dsp:cNvPr id="0" name=""/>
        <dsp:cNvSpPr/>
      </dsp:nvSpPr>
      <dsp:spPr>
        <a:xfrm>
          <a:off x="553958" y="2977465"/>
          <a:ext cx="7755414" cy="5018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sp:txBody>
      <dsp:txXfrm>
        <a:off x="578456" y="3001963"/>
        <a:ext cx="7706418" cy="45284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8CB167-03AF-4887-8026-86E2309610B7}">
      <dsp:nvSpPr>
        <dsp:cNvPr id="0" name=""/>
        <dsp:cNvSpPr/>
      </dsp:nvSpPr>
      <dsp:spPr>
        <a:xfrm>
          <a:off x="0" y="32322"/>
          <a:ext cx="11155364" cy="772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a:t>Sequence in which the source tables are accessed.</a:t>
          </a:r>
          <a:endParaRPr lang="en-US" sz="3000" kern="1200" dirty="0"/>
        </a:p>
      </dsp:txBody>
      <dsp:txXfrm>
        <a:off x="37696" y="70018"/>
        <a:ext cx="11079972" cy="696808"/>
      </dsp:txXfrm>
    </dsp:sp>
    <dsp:sp modelId="{1BF1DD65-B7B5-4756-B381-D847D027B224}">
      <dsp:nvSpPr>
        <dsp:cNvPr id="0" name=""/>
        <dsp:cNvSpPr/>
      </dsp:nvSpPr>
      <dsp:spPr>
        <a:xfrm>
          <a:off x="0" y="890922"/>
          <a:ext cx="11155364" cy="772200"/>
        </a:xfrm>
        <a:prstGeom prst="roundRect">
          <a:avLst/>
        </a:prstGeom>
        <a:solidFill>
          <a:schemeClr val="accent2">
            <a:hueOff val="-533499"/>
            <a:satOff val="11076"/>
            <a:lumOff val="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Methods used to extract data from each table.</a:t>
          </a:r>
          <a:endParaRPr lang="en-US" sz="3000" kern="1200" dirty="0"/>
        </a:p>
      </dsp:txBody>
      <dsp:txXfrm>
        <a:off x="37696" y="928618"/>
        <a:ext cx="11079972" cy="696808"/>
      </dsp:txXfrm>
    </dsp:sp>
    <dsp:sp modelId="{E2B42D5B-6516-495F-8411-9442A5C6E88C}">
      <dsp:nvSpPr>
        <dsp:cNvPr id="0" name=""/>
        <dsp:cNvSpPr/>
      </dsp:nvSpPr>
      <dsp:spPr>
        <a:xfrm>
          <a:off x="0" y="1749522"/>
          <a:ext cx="11155364" cy="772200"/>
        </a:xfrm>
        <a:prstGeom prst="roundRect">
          <a:avLst/>
        </a:prstGeom>
        <a:solidFill>
          <a:schemeClr val="accent2">
            <a:hueOff val="-1066999"/>
            <a:satOff val="22153"/>
            <a:lumOff val="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How data is joined</a:t>
          </a:r>
          <a:endParaRPr lang="en-US" sz="3000" kern="1200" dirty="0"/>
        </a:p>
      </dsp:txBody>
      <dsp:txXfrm>
        <a:off x="37696" y="1787218"/>
        <a:ext cx="11079972" cy="696808"/>
      </dsp:txXfrm>
    </dsp:sp>
    <dsp:sp modelId="{917DD80E-0FAD-4AFE-A87D-E4174719CD00}">
      <dsp:nvSpPr>
        <dsp:cNvPr id="0" name=""/>
        <dsp:cNvSpPr/>
      </dsp:nvSpPr>
      <dsp:spPr>
        <a:xfrm>
          <a:off x="0" y="2608122"/>
          <a:ext cx="11155364" cy="772200"/>
        </a:xfrm>
        <a:prstGeom prst="roundRect">
          <a:avLst/>
        </a:prstGeom>
        <a:solidFill>
          <a:schemeClr val="accent2">
            <a:hueOff val="-1600498"/>
            <a:satOff val="33229"/>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Use of temporary worktables and sorts</a:t>
          </a:r>
          <a:endParaRPr lang="en-US" sz="3000" kern="1200" dirty="0"/>
        </a:p>
      </dsp:txBody>
      <dsp:txXfrm>
        <a:off x="37696" y="2645818"/>
        <a:ext cx="11079972" cy="696808"/>
      </dsp:txXfrm>
    </dsp:sp>
    <dsp:sp modelId="{0E6CE36D-721F-4764-947B-14CCC6759F7D}">
      <dsp:nvSpPr>
        <dsp:cNvPr id="0" name=""/>
        <dsp:cNvSpPr/>
      </dsp:nvSpPr>
      <dsp:spPr>
        <a:xfrm>
          <a:off x="0" y="3466723"/>
          <a:ext cx="11155364" cy="772200"/>
        </a:xfrm>
        <a:prstGeom prst="roundRect">
          <a:avLst/>
        </a:prstGeom>
        <a:solidFill>
          <a:schemeClr val="accent2">
            <a:hueOff val="-2133998"/>
            <a:satOff val="44306"/>
            <a:lumOff val="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Estimated rowcount, iterations, and costs from each operator</a:t>
          </a:r>
          <a:endParaRPr lang="en-US" sz="3000" kern="1200" dirty="0"/>
        </a:p>
      </dsp:txBody>
      <dsp:txXfrm>
        <a:off x="37696" y="3504419"/>
        <a:ext cx="11079972" cy="696808"/>
      </dsp:txXfrm>
    </dsp:sp>
    <dsp:sp modelId="{32B0EE26-375F-484C-AA91-7A1D4825F8FD}">
      <dsp:nvSpPr>
        <dsp:cNvPr id="0" name=""/>
        <dsp:cNvSpPr/>
      </dsp:nvSpPr>
      <dsp:spPr>
        <a:xfrm>
          <a:off x="0" y="4325323"/>
          <a:ext cx="11155364" cy="7722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Actual rowcount and iterations</a:t>
          </a:r>
          <a:endParaRPr lang="en-US" sz="3000" kern="1200" dirty="0"/>
        </a:p>
      </dsp:txBody>
      <dsp:txXfrm>
        <a:off x="37696" y="4363019"/>
        <a:ext cx="11079972" cy="69680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78F1C-23D9-4408-8BAF-D0814A8EA46B}">
      <dsp:nvSpPr>
        <dsp:cNvPr id="0" name=""/>
        <dsp:cNvSpPr/>
      </dsp:nvSpPr>
      <dsp:spPr>
        <a:xfrm rot="5400000">
          <a:off x="7430127" y="-3294330"/>
          <a:ext cx="518301" cy="7236967"/>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formation about possible issues with the plan</a:t>
          </a:r>
        </a:p>
      </dsp:txBody>
      <dsp:txXfrm rot="-5400000">
        <a:off x="4070795" y="90303"/>
        <a:ext cx="7211666" cy="467699"/>
      </dsp:txXfrm>
    </dsp:sp>
    <dsp:sp modelId="{84B7B9B8-CF17-4C9F-8E5B-C19D02201E58}">
      <dsp:nvSpPr>
        <dsp:cNvPr id="0" name=""/>
        <dsp:cNvSpPr/>
      </dsp:nvSpPr>
      <dsp:spPr>
        <a:xfrm>
          <a:off x="0" y="214"/>
          <a:ext cx="4070794" cy="647876"/>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Warnings</a:t>
          </a:r>
        </a:p>
      </dsp:txBody>
      <dsp:txXfrm>
        <a:off x="31627" y="31841"/>
        <a:ext cx="4007540" cy="584622"/>
      </dsp:txXfrm>
    </dsp:sp>
    <dsp:sp modelId="{E1672FE1-D6F3-40C1-B1BB-A94F5F67BC23}">
      <dsp:nvSpPr>
        <dsp:cNvPr id="0" name=""/>
        <dsp:cNvSpPr/>
      </dsp:nvSpPr>
      <dsp:spPr>
        <a:xfrm rot="5400000">
          <a:off x="7430127" y="-2614060"/>
          <a:ext cx="518301" cy="7236967"/>
        </a:xfrm>
        <a:prstGeom prst="round2SameRect">
          <a:avLst/>
        </a:prstGeom>
        <a:solidFill>
          <a:schemeClr val="accent2">
            <a:tint val="40000"/>
            <a:alpha val="90000"/>
            <a:hueOff val="-498360"/>
            <a:satOff val="1332"/>
            <a:lumOff val="165"/>
            <a:alphaOff val="0"/>
          </a:schemeClr>
        </a:solidFill>
        <a:ln w="12700" cap="flat" cmpd="sng" algn="ctr">
          <a:solidFill>
            <a:schemeClr val="accent2">
              <a:tint val="40000"/>
              <a:alpha val="90000"/>
              <a:hueOff val="-498360"/>
              <a:satOff val="1332"/>
              <a:lumOff val="1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t>Overall </a:t>
          </a:r>
          <a:r>
            <a:rPr lang="en-US" sz="2000" kern="1200" dirty="0"/>
            <a:t>properties of the plan</a:t>
          </a:r>
        </a:p>
      </dsp:txBody>
      <dsp:txXfrm rot="-5400000">
        <a:off x="4070795" y="770573"/>
        <a:ext cx="7211666" cy="467699"/>
      </dsp:txXfrm>
    </dsp:sp>
    <dsp:sp modelId="{77D63B06-77E8-4D76-B956-6AA6BECB473F}">
      <dsp:nvSpPr>
        <dsp:cNvPr id="0" name=""/>
        <dsp:cNvSpPr/>
      </dsp:nvSpPr>
      <dsp:spPr>
        <a:xfrm>
          <a:off x="0" y="680485"/>
          <a:ext cx="4070794" cy="647876"/>
        </a:xfrm>
        <a:prstGeom prst="roundRect">
          <a:avLst/>
        </a:prstGeom>
        <a:solidFill>
          <a:schemeClr val="accent2">
            <a:hueOff val="-381071"/>
            <a:satOff val="7912"/>
            <a:lumOff val="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a:t>Top Left </a:t>
          </a:r>
          <a:r>
            <a:rPr lang="en-US" sz="2000" kern="1200" dirty="0"/>
            <a:t>Operator</a:t>
          </a:r>
        </a:p>
      </dsp:txBody>
      <dsp:txXfrm>
        <a:off x="31627" y="712112"/>
        <a:ext cx="4007540" cy="584622"/>
      </dsp:txXfrm>
    </dsp:sp>
    <dsp:sp modelId="{A6BB1FD6-985A-4294-B984-8BBE267C556F}">
      <dsp:nvSpPr>
        <dsp:cNvPr id="0" name=""/>
        <dsp:cNvSpPr/>
      </dsp:nvSpPr>
      <dsp:spPr>
        <a:xfrm rot="5400000">
          <a:off x="7430127" y="-1933789"/>
          <a:ext cx="518301" cy="7236967"/>
        </a:xfrm>
        <a:prstGeom prst="round2SameRect">
          <a:avLst/>
        </a:prstGeom>
        <a:solidFill>
          <a:schemeClr val="accent2">
            <a:tint val="40000"/>
            <a:alpha val="90000"/>
            <a:hueOff val="-996719"/>
            <a:satOff val="2665"/>
            <a:lumOff val="330"/>
            <a:alphaOff val="0"/>
          </a:schemeClr>
        </a:solidFill>
        <a:ln w="12700" cap="flat" cmpd="sng" algn="ctr">
          <a:solidFill>
            <a:schemeClr val="accent2">
              <a:tint val="40000"/>
              <a:alpha val="90000"/>
              <a:hueOff val="-996719"/>
              <a:satOff val="2665"/>
              <a:lumOff val="33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ook from most expensive to least expensive </a:t>
          </a:r>
        </a:p>
      </dsp:txBody>
      <dsp:txXfrm rot="-5400000">
        <a:off x="4070795" y="1450844"/>
        <a:ext cx="7211666" cy="467699"/>
      </dsp:txXfrm>
    </dsp:sp>
    <dsp:sp modelId="{E44F4864-B4DA-478C-99B9-E2FC412EDD26}">
      <dsp:nvSpPr>
        <dsp:cNvPr id="0" name=""/>
        <dsp:cNvSpPr/>
      </dsp:nvSpPr>
      <dsp:spPr>
        <a:xfrm>
          <a:off x="0" y="1360755"/>
          <a:ext cx="4070794" cy="647876"/>
        </a:xfrm>
        <a:prstGeom prst="roundRect">
          <a:avLst/>
        </a:prstGeom>
        <a:solidFill>
          <a:schemeClr val="accent2">
            <a:hueOff val="-762142"/>
            <a:satOff val="15823"/>
            <a:lumOff val="1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Expensive Operators</a:t>
          </a:r>
        </a:p>
      </dsp:txBody>
      <dsp:txXfrm>
        <a:off x="31627" y="1392382"/>
        <a:ext cx="4007540" cy="584622"/>
      </dsp:txXfrm>
    </dsp:sp>
    <dsp:sp modelId="{4E44DBA6-16C3-436E-BAAF-AC843AC2C864}">
      <dsp:nvSpPr>
        <dsp:cNvPr id="0" name=""/>
        <dsp:cNvSpPr/>
      </dsp:nvSpPr>
      <dsp:spPr>
        <a:xfrm rot="5400000">
          <a:off x="7430127" y="-1253519"/>
          <a:ext cx="518301" cy="7236967"/>
        </a:xfrm>
        <a:prstGeom prst="round2SameRect">
          <a:avLst/>
        </a:prstGeom>
        <a:solidFill>
          <a:schemeClr val="accent2">
            <a:tint val="40000"/>
            <a:alpha val="90000"/>
            <a:hueOff val="-1495079"/>
            <a:satOff val="3997"/>
            <a:lumOff val="495"/>
            <a:alphaOff val="0"/>
          </a:schemeClr>
        </a:solidFill>
        <a:ln w="12700" cap="flat" cmpd="sng" algn="ctr">
          <a:solidFill>
            <a:schemeClr val="accent2">
              <a:tint val="40000"/>
              <a:alpha val="90000"/>
              <a:hueOff val="-1495079"/>
              <a:satOff val="3997"/>
              <a:lumOff val="49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ocate why there is a sort operation and is it needed</a:t>
          </a:r>
        </a:p>
      </dsp:txBody>
      <dsp:txXfrm rot="-5400000">
        <a:off x="4070795" y="2131114"/>
        <a:ext cx="7211666" cy="467699"/>
      </dsp:txXfrm>
    </dsp:sp>
    <dsp:sp modelId="{E06A0108-EFF1-423D-A354-9E7E280B3250}">
      <dsp:nvSpPr>
        <dsp:cNvPr id="0" name=""/>
        <dsp:cNvSpPr/>
      </dsp:nvSpPr>
      <dsp:spPr>
        <a:xfrm>
          <a:off x="0" y="2041026"/>
          <a:ext cx="4070794" cy="647876"/>
        </a:xfrm>
        <a:prstGeom prst="roundRect">
          <a:avLst/>
        </a:prstGeom>
        <a:solidFill>
          <a:schemeClr val="accent2">
            <a:hueOff val="-1143213"/>
            <a:satOff val="23735"/>
            <a:lumOff val="2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ort Operators</a:t>
          </a:r>
        </a:p>
      </dsp:txBody>
      <dsp:txXfrm>
        <a:off x="31627" y="2072653"/>
        <a:ext cx="4007540" cy="584622"/>
      </dsp:txXfrm>
    </dsp:sp>
    <dsp:sp modelId="{CE407802-79FE-4B31-9D8F-DA1959A708C8}">
      <dsp:nvSpPr>
        <dsp:cNvPr id="0" name=""/>
        <dsp:cNvSpPr/>
      </dsp:nvSpPr>
      <dsp:spPr>
        <a:xfrm rot="5400000">
          <a:off x="7430127" y="-573248"/>
          <a:ext cx="518301" cy="7236967"/>
        </a:xfrm>
        <a:prstGeom prst="round2SameRect">
          <a:avLst/>
        </a:prstGeom>
        <a:solidFill>
          <a:schemeClr val="accent2">
            <a:tint val="40000"/>
            <a:alpha val="90000"/>
            <a:hueOff val="-1993439"/>
            <a:satOff val="5330"/>
            <a:lumOff val="659"/>
            <a:alphaOff val="0"/>
          </a:schemeClr>
        </a:solidFill>
        <a:ln w="12700" cap="flat" cmpd="sng" algn="ctr">
          <a:solidFill>
            <a:schemeClr val="accent2">
              <a:tint val="40000"/>
              <a:alpha val="90000"/>
              <a:hueOff val="-1993439"/>
              <a:satOff val="5330"/>
              <a:lumOff val="65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hicker arrows mean more data is being passed</a:t>
          </a:r>
        </a:p>
      </dsp:txBody>
      <dsp:txXfrm rot="-5400000">
        <a:off x="4070795" y="2811385"/>
        <a:ext cx="7211666" cy="467699"/>
      </dsp:txXfrm>
    </dsp:sp>
    <dsp:sp modelId="{BC4526AF-2EAB-4E8A-A353-77D12FAC2F15}">
      <dsp:nvSpPr>
        <dsp:cNvPr id="0" name=""/>
        <dsp:cNvSpPr/>
      </dsp:nvSpPr>
      <dsp:spPr>
        <a:xfrm>
          <a:off x="0" y="2721296"/>
          <a:ext cx="4070794" cy="647876"/>
        </a:xfrm>
        <a:prstGeom prst="roundRect">
          <a:avLst/>
        </a:prstGeom>
        <a:solidFill>
          <a:schemeClr val="accent2">
            <a:hueOff val="-1524284"/>
            <a:satOff val="31647"/>
            <a:lumOff val="3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Data Flow Statistics</a:t>
          </a:r>
        </a:p>
      </dsp:txBody>
      <dsp:txXfrm>
        <a:off x="31627" y="2752923"/>
        <a:ext cx="4007540" cy="584622"/>
      </dsp:txXfrm>
    </dsp:sp>
    <dsp:sp modelId="{49483BC9-7EBB-4B07-84C4-29A8C81CE3A2}">
      <dsp:nvSpPr>
        <dsp:cNvPr id="0" name=""/>
        <dsp:cNvSpPr/>
      </dsp:nvSpPr>
      <dsp:spPr>
        <a:xfrm rot="5400000">
          <a:off x="7430127" y="107022"/>
          <a:ext cx="518301" cy="7236967"/>
        </a:xfrm>
        <a:prstGeom prst="round2SameRect">
          <a:avLst/>
        </a:prstGeom>
        <a:solidFill>
          <a:schemeClr val="accent2">
            <a:tint val="40000"/>
            <a:alpha val="90000"/>
            <a:hueOff val="-2491798"/>
            <a:satOff val="6662"/>
            <a:lumOff val="824"/>
            <a:alphaOff val="0"/>
          </a:schemeClr>
        </a:solidFill>
        <a:ln w="12700" cap="flat" cmpd="sng" algn="ctr">
          <a:solidFill>
            <a:schemeClr val="accent2">
              <a:tint val="40000"/>
              <a:alpha val="90000"/>
              <a:hueOff val="-2491798"/>
              <a:satOff val="6662"/>
              <a:lumOff val="82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t>Possible </a:t>
          </a:r>
          <a:r>
            <a:rPr lang="en-US" sz="2000" kern="1200" dirty="0"/>
            <a:t>to create index that covers query</a:t>
          </a:r>
        </a:p>
      </dsp:txBody>
      <dsp:txXfrm rot="-5400000">
        <a:off x="4070795" y="3491656"/>
        <a:ext cx="7211666" cy="467699"/>
      </dsp:txXfrm>
    </dsp:sp>
    <dsp:sp modelId="{63A621D9-7E51-488D-A87F-C91AEC1D1623}">
      <dsp:nvSpPr>
        <dsp:cNvPr id="0" name=""/>
        <dsp:cNvSpPr/>
      </dsp:nvSpPr>
      <dsp:spPr>
        <a:xfrm>
          <a:off x="0" y="3401567"/>
          <a:ext cx="4070794" cy="647876"/>
        </a:xfrm>
        <a:prstGeom prst="roundRect">
          <a:avLst/>
        </a:prstGeom>
        <a:solidFill>
          <a:schemeClr val="accent2">
            <a:hueOff val="-1905355"/>
            <a:satOff val="39559"/>
            <a:lumOff val="4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Nested Loop Operator</a:t>
          </a:r>
        </a:p>
      </dsp:txBody>
      <dsp:txXfrm>
        <a:off x="31627" y="3433194"/>
        <a:ext cx="4007540" cy="584622"/>
      </dsp:txXfrm>
    </dsp:sp>
    <dsp:sp modelId="{A63DC958-F01E-461D-9803-CE9D682108D1}">
      <dsp:nvSpPr>
        <dsp:cNvPr id="0" name=""/>
        <dsp:cNvSpPr/>
      </dsp:nvSpPr>
      <dsp:spPr>
        <a:xfrm rot="5400000">
          <a:off x="7430127" y="787292"/>
          <a:ext cx="518301" cy="7236967"/>
        </a:xfrm>
        <a:prstGeom prst="round2SameRect">
          <a:avLst/>
        </a:prstGeom>
        <a:solidFill>
          <a:schemeClr val="accent2">
            <a:tint val="40000"/>
            <a:alpha val="90000"/>
            <a:hueOff val="-2990158"/>
            <a:satOff val="7995"/>
            <a:lumOff val="989"/>
            <a:alphaOff val="0"/>
          </a:schemeClr>
        </a:solidFill>
        <a:ln w="12700" cap="flat" cmpd="sng" algn="ctr">
          <a:solidFill>
            <a:schemeClr val="accent2">
              <a:tint val="40000"/>
              <a:alpha val="90000"/>
              <a:hueOff val="-2990158"/>
              <a:satOff val="7995"/>
              <a:lumOff val="9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Not necessarily bad, but could indicate I/O issues</a:t>
          </a:r>
        </a:p>
      </dsp:txBody>
      <dsp:txXfrm rot="-5400000">
        <a:off x="4070795" y="4171926"/>
        <a:ext cx="7211666" cy="467699"/>
      </dsp:txXfrm>
    </dsp:sp>
    <dsp:sp modelId="{A4268063-F919-45C8-96D6-E0469ED8C6E7}">
      <dsp:nvSpPr>
        <dsp:cNvPr id="0" name=""/>
        <dsp:cNvSpPr/>
      </dsp:nvSpPr>
      <dsp:spPr>
        <a:xfrm>
          <a:off x="0" y="4081838"/>
          <a:ext cx="4070794" cy="647876"/>
        </a:xfrm>
        <a:prstGeom prst="roundRect">
          <a:avLst/>
        </a:prstGeom>
        <a:solidFill>
          <a:schemeClr val="accent2">
            <a:hueOff val="-2286426"/>
            <a:satOff val="47470"/>
            <a:lumOff val="5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cans vs Seeks</a:t>
          </a:r>
        </a:p>
      </dsp:txBody>
      <dsp:txXfrm>
        <a:off x="31627" y="4113465"/>
        <a:ext cx="4007540" cy="584622"/>
      </dsp:txXfrm>
    </dsp:sp>
    <dsp:sp modelId="{C44360D4-090F-4F2C-9A70-603F26F29860}">
      <dsp:nvSpPr>
        <dsp:cNvPr id="0" name=""/>
        <dsp:cNvSpPr/>
      </dsp:nvSpPr>
      <dsp:spPr>
        <a:xfrm rot="5400000">
          <a:off x="7430127" y="1467563"/>
          <a:ext cx="518301" cy="7236967"/>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tatistics could be stale or invalid</a:t>
          </a:r>
        </a:p>
      </dsp:txBody>
      <dsp:txXfrm rot="-5400000">
        <a:off x="4070795" y="4852197"/>
        <a:ext cx="7211666" cy="467699"/>
      </dsp:txXfrm>
    </dsp:sp>
    <dsp:sp modelId="{4C024234-C58C-41AF-8E8E-9314898FF03F}">
      <dsp:nvSpPr>
        <dsp:cNvPr id="0" name=""/>
        <dsp:cNvSpPr/>
      </dsp:nvSpPr>
      <dsp:spPr>
        <a:xfrm>
          <a:off x="0" y="4762108"/>
          <a:ext cx="4070794" cy="647876"/>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kewed Estimates</a:t>
          </a:r>
        </a:p>
      </dsp:txBody>
      <dsp:txXfrm>
        <a:off x="31627" y="4793735"/>
        <a:ext cx="4007540" cy="58462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902"/>
          <a:ext cx="10880725" cy="95248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dirty="0"/>
            <a:t>What are the physical join operators?</a:t>
          </a:r>
          <a:endParaRPr lang="en-US" sz="2400" kern="1200" dirty="0"/>
        </a:p>
      </dsp:txBody>
      <dsp:txXfrm>
        <a:off x="46496" y="48398"/>
        <a:ext cx="10787733" cy="859489"/>
      </dsp:txXfrm>
    </dsp:sp>
    <dsp:sp modelId="{4A71D5C7-A7D6-46CE-B888-CF65241F6B98}">
      <dsp:nvSpPr>
        <dsp:cNvPr id="0" name=""/>
        <dsp:cNvSpPr/>
      </dsp:nvSpPr>
      <dsp:spPr>
        <a:xfrm>
          <a:off x="0" y="967743"/>
          <a:ext cx="10880725" cy="95248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dirty="0"/>
            <a:t>What is a method to eliminate a lookup?</a:t>
          </a:r>
          <a:endParaRPr lang="en-US" sz="2400" kern="1200" dirty="0"/>
        </a:p>
      </dsp:txBody>
      <dsp:txXfrm>
        <a:off x="46496" y="1014239"/>
        <a:ext cx="10787733" cy="859489"/>
      </dsp:txXfrm>
    </dsp:sp>
    <dsp:sp modelId="{4CE6D622-6C4B-4912-A756-057BDFDF7259}">
      <dsp:nvSpPr>
        <dsp:cNvPr id="0" name=""/>
        <dsp:cNvSpPr/>
      </dsp:nvSpPr>
      <dsp:spPr>
        <a:xfrm>
          <a:off x="0" y="1933584"/>
          <a:ext cx="10880725" cy="95248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s it recommended to eliminate all lookups operators? </a:t>
          </a:r>
        </a:p>
      </dsp:txBody>
      <dsp:txXfrm>
        <a:off x="46496" y="1980080"/>
        <a:ext cx="10787733" cy="859489"/>
      </dsp:txXfrm>
    </dsp:sp>
    <dsp:sp modelId="{0E5177C7-801D-471B-9850-4FD8DFBC4036}">
      <dsp:nvSpPr>
        <dsp:cNvPr id="0" name=""/>
        <dsp:cNvSpPr/>
      </dsp:nvSpPr>
      <dsp:spPr>
        <a:xfrm>
          <a:off x="0" y="2899425"/>
          <a:ext cx="10880725" cy="95248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dirty="0"/>
            <a:t>Under what circumstances would a table scan be more efficient than an index seek on a non-clustered, non-covering index?</a:t>
          </a:r>
          <a:endParaRPr lang="en-US" sz="2400" kern="1200" dirty="0"/>
        </a:p>
      </dsp:txBody>
      <dsp:txXfrm>
        <a:off x="46496" y="2945921"/>
        <a:ext cx="10787733" cy="859489"/>
      </dsp:txXfrm>
    </dsp:sp>
    <dsp:sp modelId="{196D8D5C-AF3C-4B3F-BC76-432EBE3C6399}">
      <dsp:nvSpPr>
        <dsp:cNvPr id="0" name=""/>
        <dsp:cNvSpPr/>
      </dsp:nvSpPr>
      <dsp:spPr>
        <a:xfrm>
          <a:off x="0" y="3851097"/>
          <a:ext cx="10880725" cy="952481"/>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s a Clustered Index Scan more efficient than a Table Scan? </a:t>
          </a:r>
        </a:p>
      </dsp:txBody>
      <dsp:txXfrm>
        <a:off x="46496" y="3897593"/>
        <a:ext cx="10787733" cy="85948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ACAFEA-C2B1-41D4-93B6-13D50D5431E7}">
      <dsp:nvSpPr>
        <dsp:cNvPr id="0" name=""/>
        <dsp:cNvSpPr/>
      </dsp:nvSpPr>
      <dsp:spPr>
        <a:xfrm>
          <a:off x="304802" y="4130"/>
          <a:ext cx="3812677" cy="1541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The choice of a Hash Join or Nested Loops join method is deferred until after the first input has been scanned.</a:t>
          </a:r>
        </a:p>
      </dsp:txBody>
      <dsp:txXfrm>
        <a:off x="304802" y="4130"/>
        <a:ext cx="3812677" cy="1541752"/>
      </dsp:txXfrm>
    </dsp:sp>
    <dsp:sp modelId="{52B72E54-28A3-4CE5-87D7-F960362E8795}">
      <dsp:nvSpPr>
        <dsp:cNvPr id="0" name=""/>
        <dsp:cNvSpPr/>
      </dsp:nvSpPr>
      <dsp:spPr>
        <a:xfrm>
          <a:off x="304802" y="1802842"/>
          <a:ext cx="3812677" cy="1541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A threshold is used to decide when to switch to a Nested Loops plan, allowing a query plan to use a better join strategy during execution without to be recompiled.</a:t>
          </a:r>
        </a:p>
      </dsp:txBody>
      <dsp:txXfrm>
        <a:off x="304802" y="1802842"/>
        <a:ext cx="3812677" cy="1541752"/>
      </dsp:txXfrm>
    </dsp:sp>
    <dsp:sp modelId="{2ED56573-A70A-489E-805B-C562B7289DA4}">
      <dsp:nvSpPr>
        <dsp:cNvPr id="0" name=""/>
        <dsp:cNvSpPr/>
      </dsp:nvSpPr>
      <dsp:spPr>
        <a:xfrm>
          <a:off x="304802" y="3601553"/>
          <a:ext cx="3812677" cy="15417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Workloads with frequent oscillations between small and large join input scans will benefit most from this feature.</a:t>
          </a:r>
        </a:p>
      </dsp:txBody>
      <dsp:txXfrm>
        <a:off x="304802" y="3601553"/>
        <a:ext cx="3812677" cy="154175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83921C-E6A3-428D-BEEA-0B964855A36B}">
      <dsp:nvSpPr>
        <dsp:cNvPr id="0" name=""/>
        <dsp:cNvSpPr/>
      </dsp:nvSpPr>
      <dsp:spPr>
        <a:xfrm>
          <a:off x="1416" y="1317470"/>
          <a:ext cx="3466658" cy="12847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By addressing repeating workloads, it recalculates the actual memory required for a query and then updates the grant value for the cached plan. </a:t>
          </a:r>
          <a:endParaRPr lang="en-US" sz="1500" kern="1200" dirty="0"/>
        </a:p>
      </dsp:txBody>
      <dsp:txXfrm>
        <a:off x="1416" y="1317470"/>
        <a:ext cx="3466658" cy="1284796"/>
      </dsp:txXfrm>
    </dsp:sp>
    <dsp:sp modelId="{B72E014E-67FF-46D9-A089-1971F048D08F}">
      <dsp:nvSpPr>
        <dsp:cNvPr id="0" name=""/>
        <dsp:cNvSpPr/>
      </dsp:nvSpPr>
      <dsp:spPr>
        <a:xfrm>
          <a:off x="1416" y="2816399"/>
          <a:ext cx="3466658" cy="12847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0" i="0" kern="1200" dirty="0"/>
            <a:t>For parameter-sensitive plans, memory grant feedback will disable itself on a query if it has unstable memory requirements.</a:t>
          </a:r>
          <a:endParaRPr lang="en-US" sz="1500" kern="1200" dirty="0"/>
        </a:p>
      </dsp:txBody>
      <dsp:txXfrm>
        <a:off x="1416" y="2816399"/>
        <a:ext cx="3466658" cy="128479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D43947-D38A-4521-BFB6-40587A913D43}">
      <dsp:nvSpPr>
        <dsp:cNvPr id="0" name=""/>
        <dsp:cNvSpPr/>
      </dsp:nvSpPr>
      <dsp:spPr>
        <a:xfrm>
          <a:off x="0" y="449527"/>
          <a:ext cx="3476625" cy="2085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mpilation of a statement that references a table variable is deferred until the first actual execution. </a:t>
          </a:r>
        </a:p>
      </dsp:txBody>
      <dsp:txXfrm>
        <a:off x="0" y="449527"/>
        <a:ext cx="3476625" cy="2085975"/>
      </dsp:txXfrm>
    </dsp:sp>
    <dsp:sp modelId="{821D16B4-A175-4861-9ABD-81F6E06FC003}">
      <dsp:nvSpPr>
        <dsp:cNvPr id="0" name=""/>
        <dsp:cNvSpPr/>
      </dsp:nvSpPr>
      <dsp:spPr>
        <a:xfrm>
          <a:off x="3824287" y="449527"/>
          <a:ext cx="3476625" cy="2085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ble variable deferred compilation doesn't change any other characteristics of table variables.</a:t>
          </a:r>
        </a:p>
      </dsp:txBody>
      <dsp:txXfrm>
        <a:off x="3824287" y="449527"/>
        <a:ext cx="3476625" cy="2085975"/>
      </dsp:txXfrm>
    </dsp:sp>
    <dsp:sp modelId="{C5971B66-4527-4742-992C-924E0F8747A3}">
      <dsp:nvSpPr>
        <dsp:cNvPr id="0" name=""/>
        <dsp:cNvSpPr/>
      </dsp:nvSpPr>
      <dsp:spPr>
        <a:xfrm>
          <a:off x="7648575" y="449527"/>
          <a:ext cx="3476625" cy="2085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ble variable deferred compilation </a:t>
          </a:r>
          <a:r>
            <a:rPr lang="en-US" sz="2000" b="1" kern="1200" dirty="0"/>
            <a:t>doesn't increase recompilation frequency</a:t>
          </a:r>
          <a:r>
            <a:rPr lang="en-US" sz="2000" kern="1200" dirty="0"/>
            <a:t>.</a:t>
          </a:r>
        </a:p>
      </dsp:txBody>
      <dsp:txXfrm>
        <a:off x="7648575" y="449527"/>
        <a:ext cx="3476625" cy="2085975"/>
      </dsp:txXfrm>
    </dsp:sp>
    <dsp:sp modelId="{5765AEBF-4B7D-4FEB-BAB6-8F58E76FCAAC}">
      <dsp:nvSpPr>
        <dsp:cNvPr id="0" name=""/>
        <dsp:cNvSpPr/>
      </dsp:nvSpPr>
      <dsp:spPr>
        <a:xfrm>
          <a:off x="1912143" y="2883164"/>
          <a:ext cx="3476625" cy="2085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Cached plan is generated based on the initial deferred compilation table variable row count </a:t>
          </a:r>
          <a:r>
            <a:rPr lang="en-US" sz="2000" kern="1200" dirty="0"/>
            <a:t>instead of the original one-row guess.</a:t>
          </a:r>
        </a:p>
      </dsp:txBody>
      <dsp:txXfrm>
        <a:off x="1912143" y="2883164"/>
        <a:ext cx="3476625" cy="2085975"/>
      </dsp:txXfrm>
    </dsp:sp>
    <dsp:sp modelId="{2094DF82-76DF-420C-8D09-653CBDAF6D57}">
      <dsp:nvSpPr>
        <dsp:cNvPr id="0" name=""/>
        <dsp:cNvSpPr/>
      </dsp:nvSpPr>
      <dsp:spPr>
        <a:xfrm>
          <a:off x="5736431" y="2883164"/>
          <a:ext cx="3476625" cy="2085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Performance may not be improved by this feature if the table variable row count varies significantly across executions.</a:t>
          </a:r>
          <a:endParaRPr lang="en-US" sz="2000" kern="1200" dirty="0"/>
        </a:p>
      </dsp:txBody>
      <dsp:txXfrm>
        <a:off x="5736431" y="2883164"/>
        <a:ext cx="3476625" cy="2085975"/>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61A5D6-AFF4-4C99-AA5C-4E167EFBE90B}">
      <dsp:nvSpPr>
        <dsp:cNvPr id="0" name=""/>
        <dsp:cNvSpPr/>
      </dsp:nvSpPr>
      <dsp:spPr>
        <a:xfrm>
          <a:off x="3310" y="343547"/>
          <a:ext cx="2626663" cy="15759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It returns the approximate number of unique non-null values in a group.</a:t>
          </a:r>
        </a:p>
      </dsp:txBody>
      <dsp:txXfrm>
        <a:off x="3310" y="343547"/>
        <a:ext cx="2626663" cy="1575998"/>
      </dsp:txXfrm>
    </dsp:sp>
    <dsp:sp modelId="{0B4A8F5D-69E7-40FD-9BAF-CAC734F828AA}">
      <dsp:nvSpPr>
        <dsp:cNvPr id="0" name=""/>
        <dsp:cNvSpPr/>
      </dsp:nvSpPr>
      <dsp:spPr>
        <a:xfrm>
          <a:off x="2892640" y="343547"/>
          <a:ext cx="2626663" cy="15759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It is designed to provide aggregations across large data sets where responsiveness is more critical than absolute precision.</a:t>
          </a:r>
        </a:p>
      </dsp:txBody>
      <dsp:txXfrm>
        <a:off x="2892640" y="343547"/>
        <a:ext cx="2626663" cy="1575998"/>
      </dsp:txXfrm>
    </dsp:sp>
    <dsp:sp modelId="{D241CA5A-21DB-4320-8434-76002B8599BB}">
      <dsp:nvSpPr>
        <dsp:cNvPr id="0" name=""/>
        <dsp:cNvSpPr/>
      </dsp:nvSpPr>
      <dsp:spPr>
        <a:xfrm>
          <a:off x="5781970" y="343547"/>
          <a:ext cx="2626663" cy="15759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Its implementation guarantees up to a 2% error rate within a 97% probability.</a:t>
          </a:r>
        </a:p>
      </dsp:txBody>
      <dsp:txXfrm>
        <a:off x="5781970" y="343547"/>
        <a:ext cx="2626663" cy="1575998"/>
      </dsp:txXfrm>
    </dsp:sp>
    <dsp:sp modelId="{2CEC3751-8FCF-4794-BEC1-0DEED48CB8E5}">
      <dsp:nvSpPr>
        <dsp:cNvPr id="0" name=""/>
        <dsp:cNvSpPr/>
      </dsp:nvSpPr>
      <dsp:spPr>
        <a:xfrm>
          <a:off x="8671300" y="343547"/>
          <a:ext cx="2626663" cy="15759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requires less memory than an exhaustive COUNT DISTINCT operation so it is less likely to spill memory to disk compared to COUNT DISTINCT. </a:t>
          </a:r>
        </a:p>
      </dsp:txBody>
      <dsp:txXfrm>
        <a:off x="8671300" y="343547"/>
        <a:ext cx="2626663" cy="157599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BA798F-4F79-4105-B2B8-86BFA3F3C273}">
      <dsp:nvSpPr>
        <dsp:cNvPr id="0" name=""/>
        <dsp:cNvSpPr/>
      </dsp:nvSpPr>
      <dsp:spPr>
        <a:xfrm>
          <a:off x="425028" y="671"/>
          <a:ext cx="3134583" cy="18807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CPU consumption Reduced</a:t>
          </a:r>
        </a:p>
      </dsp:txBody>
      <dsp:txXfrm>
        <a:off x="425028" y="671"/>
        <a:ext cx="3134583" cy="1880750"/>
      </dsp:txXfrm>
    </dsp:sp>
    <dsp:sp modelId="{31DABB12-131B-4C9F-B33F-A31E84797006}">
      <dsp:nvSpPr>
        <dsp:cNvPr id="0" name=""/>
        <dsp:cNvSpPr/>
      </dsp:nvSpPr>
      <dsp:spPr>
        <a:xfrm>
          <a:off x="3873070" y="671"/>
          <a:ext cx="3134583" cy="18807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No gain in I/O consumption unless data is already in cache</a:t>
          </a:r>
        </a:p>
      </dsp:txBody>
      <dsp:txXfrm>
        <a:off x="3873070" y="671"/>
        <a:ext cx="3134583" cy="1880750"/>
      </dsp:txXfrm>
    </dsp:sp>
    <dsp:sp modelId="{A3F97EEB-A06A-4880-A0E6-CDFF05C4FCC2}">
      <dsp:nvSpPr>
        <dsp:cNvPr id="0" name=""/>
        <dsp:cNvSpPr/>
      </dsp:nvSpPr>
      <dsp:spPr>
        <a:xfrm>
          <a:off x="7321112" y="671"/>
          <a:ext cx="3134583" cy="18807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erformance improvement only possible if enough memory to cache all data</a:t>
          </a:r>
        </a:p>
      </dsp:txBody>
      <dsp:txXfrm>
        <a:off x="7321112" y="671"/>
        <a:ext cx="3134583" cy="18807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B18191-AC71-49BF-98CD-1E93E2ABEF4C}">
      <dsp:nvSpPr>
        <dsp:cNvPr id="0" name=""/>
        <dsp:cNvSpPr/>
      </dsp:nvSpPr>
      <dsp:spPr>
        <a:xfrm>
          <a:off x="0" y="5556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stant Folding: Expressions with constant values are reduced</a:t>
          </a:r>
        </a:p>
      </dsp:txBody>
      <dsp:txXfrm>
        <a:off x="29243" y="84805"/>
        <a:ext cx="11059279" cy="540554"/>
      </dsp:txXfrm>
    </dsp:sp>
    <dsp:sp modelId="{E7753C57-A5F5-46E1-B7BB-82581E003E85}">
      <dsp:nvSpPr>
        <dsp:cNvPr id="0" name=""/>
        <dsp:cNvSpPr/>
      </dsp:nvSpPr>
      <dsp:spPr>
        <a:xfrm>
          <a:off x="0" y="65460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Quantity = 2 + 3 </a:t>
          </a:r>
          <a:r>
            <a:rPr lang="en-US" sz="2000" kern="1200" dirty="0"/>
            <a:t>becomes </a:t>
          </a:r>
          <a:r>
            <a:rPr lang="en-US" sz="2000" b="1" kern="1200" dirty="0"/>
            <a:t>Quantity =  5</a:t>
          </a:r>
          <a:endParaRPr lang="en-US" sz="2000" kern="1200" dirty="0"/>
        </a:p>
        <a:p>
          <a:pPr marL="228600" lvl="1" indent="-228600" algn="l" defTabSz="889000">
            <a:lnSpc>
              <a:spcPct val="90000"/>
            </a:lnSpc>
            <a:spcBef>
              <a:spcPct val="0"/>
            </a:spcBef>
            <a:spcAft>
              <a:spcPct val="20000"/>
            </a:spcAft>
            <a:buChar char="•"/>
          </a:pPr>
          <a:r>
            <a:rPr lang="en-US" sz="2000" b="1" kern="1200" dirty="0"/>
            <a:t>10 &lt; 20 </a:t>
          </a:r>
          <a:r>
            <a:rPr lang="en-US" sz="2000" kern="1200" dirty="0"/>
            <a:t>becomes </a:t>
          </a:r>
          <a:r>
            <a:rPr lang="en-US" sz="2000" b="1" kern="1200" dirty="0"/>
            <a:t>True </a:t>
          </a:r>
          <a:endParaRPr lang="en-US" sz="2000" kern="1200" dirty="0"/>
        </a:p>
      </dsp:txBody>
      <dsp:txXfrm>
        <a:off x="0" y="654602"/>
        <a:ext cx="11117765" cy="728640"/>
      </dsp:txXfrm>
    </dsp:sp>
    <dsp:sp modelId="{AD3DC3D7-B755-496C-B049-673782A48B7E}">
      <dsp:nvSpPr>
        <dsp:cNvPr id="0" name=""/>
        <dsp:cNvSpPr/>
      </dsp:nvSpPr>
      <dsp:spPr>
        <a:xfrm>
          <a:off x="0" y="138324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tradiction Detection: Removes criteria that doesn’t match table constraints</a:t>
          </a:r>
        </a:p>
      </dsp:txBody>
      <dsp:txXfrm>
        <a:off x="29243" y="1412485"/>
        <a:ext cx="11059279" cy="540554"/>
      </dsp:txXfrm>
    </dsp:sp>
    <dsp:sp modelId="{F4979A52-6910-4680-A30D-AF6E5F6F6BEB}">
      <dsp:nvSpPr>
        <dsp:cNvPr id="0" name=""/>
        <dsp:cNvSpPr/>
      </dsp:nvSpPr>
      <dsp:spPr>
        <a:xfrm>
          <a:off x="0" y="198228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nstraint: </a:t>
          </a:r>
          <a:r>
            <a:rPr lang="en-US" sz="2000" kern="1200" dirty="0"/>
            <a:t>Age &gt; 18</a:t>
          </a:r>
        </a:p>
        <a:p>
          <a:pPr marL="228600" lvl="1" indent="-228600" algn="l" defTabSz="889000">
            <a:lnSpc>
              <a:spcPct val="90000"/>
            </a:lnSpc>
            <a:spcBef>
              <a:spcPct val="0"/>
            </a:spcBef>
            <a:spcAft>
              <a:spcPct val="20000"/>
            </a:spcAft>
            <a:buChar char="•"/>
          </a:pPr>
          <a:r>
            <a:rPr lang="en-US" sz="2000" b="1" kern="1200" dirty="0"/>
            <a:t>Contradiction: </a:t>
          </a:r>
          <a:r>
            <a:rPr lang="en-US" sz="2000" kern="1200" dirty="0"/>
            <a:t>WHERE Age &lt; 18</a:t>
          </a:r>
        </a:p>
      </dsp:txBody>
      <dsp:txXfrm>
        <a:off x="0" y="1982282"/>
        <a:ext cx="11117765" cy="728640"/>
      </dsp:txXfrm>
    </dsp:sp>
    <dsp:sp modelId="{00D08612-0E1E-47DC-8CA9-705E272E1D3D}">
      <dsp:nvSpPr>
        <dsp:cNvPr id="0" name=""/>
        <dsp:cNvSpPr/>
      </dsp:nvSpPr>
      <dsp:spPr>
        <a:xfrm>
          <a:off x="0" y="271092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omain Simplification: Reduces complex ranges to simple ranges</a:t>
          </a:r>
        </a:p>
      </dsp:txBody>
      <dsp:txXfrm>
        <a:off x="29243" y="2740165"/>
        <a:ext cx="11059279" cy="540554"/>
      </dsp:txXfrm>
    </dsp:sp>
    <dsp:sp modelId="{E0A24385-0B6B-4B50-BE74-56A56D95DC41}">
      <dsp:nvSpPr>
        <dsp:cNvPr id="0" name=""/>
        <dsp:cNvSpPr/>
      </dsp:nvSpPr>
      <dsp:spPr>
        <a:xfrm>
          <a:off x="0" y="330996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mplex range: </a:t>
          </a:r>
          <a:r>
            <a:rPr lang="en-US" sz="2000" kern="1200" dirty="0"/>
            <a:t>ID &gt; 10 and ID &lt; 20 or ID &gt; 30 and &lt; 50</a:t>
          </a:r>
        </a:p>
        <a:p>
          <a:pPr marL="228600" lvl="1" indent="-228600" algn="l" defTabSz="889000">
            <a:lnSpc>
              <a:spcPct val="90000"/>
            </a:lnSpc>
            <a:spcBef>
              <a:spcPct val="0"/>
            </a:spcBef>
            <a:spcAft>
              <a:spcPct val="20000"/>
            </a:spcAft>
            <a:buChar char="•"/>
          </a:pPr>
          <a:r>
            <a:rPr lang="en-US" sz="2000" b="1" kern="1200" dirty="0"/>
            <a:t>Simplified range: </a:t>
          </a:r>
          <a:r>
            <a:rPr lang="en-US" sz="2000" kern="1200" dirty="0"/>
            <a:t>ID &gt; 10 and &lt; 50</a:t>
          </a:r>
        </a:p>
      </dsp:txBody>
      <dsp:txXfrm>
        <a:off x="0" y="3309962"/>
        <a:ext cx="11117765" cy="728640"/>
      </dsp:txXfrm>
    </dsp:sp>
    <dsp:sp modelId="{4DCA75EA-7FE7-4098-A98C-5F17DD83CF52}">
      <dsp:nvSpPr>
        <dsp:cNvPr id="0" name=""/>
        <dsp:cNvSpPr/>
      </dsp:nvSpPr>
      <dsp:spPr>
        <a:xfrm>
          <a:off x="0" y="40386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Join Simplification: Removes redundant joins that are not necessary</a:t>
          </a:r>
        </a:p>
      </dsp:txBody>
      <dsp:txXfrm>
        <a:off x="29243" y="4067845"/>
        <a:ext cx="11059279" cy="540554"/>
      </dsp:txXfrm>
    </dsp:sp>
    <dsp:sp modelId="{4D843B81-431E-4829-9E03-521C00A76FD2}">
      <dsp:nvSpPr>
        <dsp:cNvPr id="0" name=""/>
        <dsp:cNvSpPr/>
      </dsp:nvSpPr>
      <dsp:spPr>
        <a:xfrm>
          <a:off x="0" y="47298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Predicate Pushdown: Perform calculations only on rows returned</a:t>
          </a:r>
        </a:p>
      </dsp:txBody>
      <dsp:txXfrm>
        <a:off x="29243" y="4759045"/>
        <a:ext cx="11059279" cy="540554"/>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187C8A-E55F-47C4-AD5D-98C7CABB6CE6}">
      <dsp:nvSpPr>
        <dsp:cNvPr id="0" name=""/>
        <dsp:cNvSpPr/>
      </dsp:nvSpPr>
      <dsp:spPr>
        <a:xfrm>
          <a:off x="0" y="0"/>
          <a:ext cx="10880725" cy="0"/>
        </a:xfrm>
        <a:prstGeom prst="lin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E123843E-C35D-47AB-B00E-D50FB92E1634}">
      <dsp:nvSpPr>
        <dsp:cNvPr id="0" name=""/>
        <dsp:cNvSpPr/>
      </dsp:nvSpPr>
      <dsp:spPr>
        <a:xfrm>
          <a:off x="0" y="0"/>
          <a:ext cx="10880725" cy="928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b="1" kern="1200" dirty="0"/>
            <a:t>Iterative invocation</a:t>
          </a:r>
          <a:r>
            <a:rPr lang="en-US" sz="2300" kern="1200" dirty="0"/>
            <a:t>: Invoked once per qualifying row. Repeated context switching – and even worse for UDFs that execute SQL queries in their definition.</a:t>
          </a:r>
        </a:p>
      </dsp:txBody>
      <dsp:txXfrm>
        <a:off x="0" y="0"/>
        <a:ext cx="10880725" cy="928131"/>
      </dsp:txXfrm>
    </dsp:sp>
    <dsp:sp modelId="{46B0BC34-AD6E-41F6-B493-E777B6D176C3}">
      <dsp:nvSpPr>
        <dsp:cNvPr id="0" name=""/>
        <dsp:cNvSpPr/>
      </dsp:nvSpPr>
      <dsp:spPr>
        <a:xfrm>
          <a:off x="0" y="928131"/>
          <a:ext cx="10880725" cy="0"/>
        </a:xfrm>
        <a:prstGeom prst="lin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D9B6CC95-9ECF-483E-94F0-F8D4F66D5385}">
      <dsp:nvSpPr>
        <dsp:cNvPr id="0" name=""/>
        <dsp:cNvSpPr/>
      </dsp:nvSpPr>
      <dsp:spPr>
        <a:xfrm>
          <a:off x="0" y="928131"/>
          <a:ext cx="10880725" cy="928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b="1" kern="1200" dirty="0"/>
            <a:t>Lack of costing</a:t>
          </a:r>
          <a:r>
            <a:rPr lang="en-US" sz="2300" kern="1200" dirty="0"/>
            <a:t>: Scalar operators are not costed (realistically).</a:t>
          </a:r>
        </a:p>
      </dsp:txBody>
      <dsp:txXfrm>
        <a:off x="0" y="928131"/>
        <a:ext cx="10880725" cy="928131"/>
      </dsp:txXfrm>
    </dsp:sp>
    <dsp:sp modelId="{15264B79-77BF-4ECD-949B-9CFEC67D260F}">
      <dsp:nvSpPr>
        <dsp:cNvPr id="0" name=""/>
        <dsp:cNvSpPr/>
      </dsp:nvSpPr>
      <dsp:spPr>
        <a:xfrm>
          <a:off x="0" y="1856262"/>
          <a:ext cx="10880725" cy="0"/>
        </a:xfrm>
        <a:prstGeom prst="lin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04232D1E-EDA1-4AE0-A22B-D77CC2B11029}">
      <dsp:nvSpPr>
        <dsp:cNvPr id="0" name=""/>
        <dsp:cNvSpPr/>
      </dsp:nvSpPr>
      <dsp:spPr>
        <a:xfrm>
          <a:off x="0" y="1856262"/>
          <a:ext cx="10880725" cy="928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b="1" kern="1200" dirty="0"/>
            <a:t>Interpreted execution</a:t>
          </a:r>
          <a:r>
            <a:rPr lang="en-US" sz="2300" kern="1200" dirty="0"/>
            <a:t>: Each statement itself is compiled, and the compiled plan is cached. No cross-statement optimizations are carried out.</a:t>
          </a:r>
        </a:p>
      </dsp:txBody>
      <dsp:txXfrm>
        <a:off x="0" y="1856262"/>
        <a:ext cx="10880725" cy="928131"/>
      </dsp:txXfrm>
    </dsp:sp>
    <dsp:sp modelId="{F1FEADBE-FB44-4E94-9E3E-016FD00ED591}">
      <dsp:nvSpPr>
        <dsp:cNvPr id="0" name=""/>
        <dsp:cNvSpPr/>
      </dsp:nvSpPr>
      <dsp:spPr>
        <a:xfrm>
          <a:off x="0" y="2784394"/>
          <a:ext cx="10880725" cy="0"/>
        </a:xfrm>
        <a:prstGeom prst="lin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5302CCC9-9D5F-4962-AECD-3EBEF0135A0D}">
      <dsp:nvSpPr>
        <dsp:cNvPr id="0" name=""/>
        <dsp:cNvSpPr/>
      </dsp:nvSpPr>
      <dsp:spPr>
        <a:xfrm>
          <a:off x="0" y="2784394"/>
          <a:ext cx="10880725" cy="928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b="1" kern="1200" dirty="0"/>
            <a:t>Serial execution</a:t>
          </a:r>
          <a:r>
            <a:rPr lang="en-US" sz="2300" kern="1200" dirty="0"/>
            <a:t>: SQL Server does not allow intra-query parallelism in queries that invoke UDFs.</a:t>
          </a:r>
        </a:p>
      </dsp:txBody>
      <dsp:txXfrm>
        <a:off x="0" y="2784394"/>
        <a:ext cx="10880725" cy="928131"/>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A59778-D032-4875-9B3D-EE31B696F4BB}">
      <dsp:nvSpPr>
        <dsp:cNvPr id="0" name=""/>
        <dsp:cNvSpPr/>
      </dsp:nvSpPr>
      <dsp:spPr>
        <a:xfrm>
          <a:off x="2125" y="321074"/>
          <a:ext cx="4531864" cy="27191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calar UDFs are automatically transformed into scalar expressions or scalar subqueries that are substituted in the calling query in place of the UDF operator. </a:t>
          </a:r>
        </a:p>
      </dsp:txBody>
      <dsp:txXfrm>
        <a:off x="81765" y="400714"/>
        <a:ext cx="4372584" cy="2559838"/>
      </dsp:txXfrm>
    </dsp:sp>
    <dsp:sp modelId="{FF2B3BE9-4B1D-4750-833C-A14724EEF8CF}">
      <dsp:nvSpPr>
        <dsp:cNvPr id="0" name=""/>
        <dsp:cNvSpPr/>
      </dsp:nvSpPr>
      <dsp:spPr>
        <a:xfrm>
          <a:off x="4987176" y="1118682"/>
          <a:ext cx="960755" cy="112390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dirty="0"/>
        </a:p>
      </dsp:txBody>
      <dsp:txXfrm>
        <a:off x="4987176" y="1343462"/>
        <a:ext cx="672529" cy="674342"/>
      </dsp:txXfrm>
    </dsp:sp>
    <dsp:sp modelId="{CD99B0BA-23CF-40DD-801F-8D09AFE04722}">
      <dsp:nvSpPr>
        <dsp:cNvPr id="0" name=""/>
        <dsp:cNvSpPr/>
      </dsp:nvSpPr>
      <dsp:spPr>
        <a:xfrm>
          <a:off x="6346735" y="321074"/>
          <a:ext cx="4531864" cy="27191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hese expressions and subqueries are then optimized. As a result, the query plan will no longer have a user-defined function operator, but its effects will be observed in the plan, like views or inline TVFs.</a:t>
          </a:r>
        </a:p>
      </dsp:txBody>
      <dsp:txXfrm>
        <a:off x="6426375" y="400714"/>
        <a:ext cx="4372584" cy="255983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902"/>
          <a:ext cx="10880725" cy="95248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Is it possible to disable Intelligent Query Processing features?</a:t>
          </a:r>
        </a:p>
      </dsp:txBody>
      <dsp:txXfrm>
        <a:off x="46496" y="48398"/>
        <a:ext cx="10787733" cy="859489"/>
      </dsp:txXfrm>
    </dsp:sp>
    <dsp:sp modelId="{4A71D5C7-A7D6-46CE-B888-CF65241F6B98}">
      <dsp:nvSpPr>
        <dsp:cNvPr id="0" name=""/>
        <dsp:cNvSpPr/>
      </dsp:nvSpPr>
      <dsp:spPr>
        <a:xfrm>
          <a:off x="0" y="967743"/>
          <a:ext cx="10880725" cy="95248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solidFill>
                <a:srgbClr val="FFFFFF"/>
              </a:solidFill>
              <a:latin typeface="Segoe UI"/>
              <a:ea typeface="+mn-ea"/>
              <a:cs typeface="+mn-cs"/>
            </a:rPr>
            <a:t>On queries not using Interleaved execution for MSTVFs. How many rows are estimated for a MSTVFs?</a:t>
          </a:r>
        </a:p>
      </dsp:txBody>
      <dsp:txXfrm>
        <a:off x="46496" y="1014239"/>
        <a:ext cx="10787733" cy="859489"/>
      </dsp:txXfrm>
    </dsp:sp>
    <dsp:sp modelId="{59DA1BDC-D3DF-4582-8199-733D425BB436}">
      <dsp:nvSpPr>
        <dsp:cNvPr id="0" name=""/>
        <dsp:cNvSpPr/>
      </dsp:nvSpPr>
      <dsp:spPr>
        <a:xfrm>
          <a:off x="0" y="1933584"/>
          <a:ext cx="10880725" cy="95248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noProof="0" dirty="0"/>
            <a:t>Does table variable deferred compilation increase the recompilation frequency?</a:t>
          </a:r>
          <a:endParaRPr lang="en-US" sz="2400" kern="1200" noProof="0" dirty="0">
            <a:solidFill>
              <a:srgbClr val="FFFFFF"/>
            </a:solidFill>
            <a:latin typeface="Segoe UI"/>
            <a:ea typeface="+mn-ea"/>
            <a:cs typeface="+mn-cs"/>
          </a:endParaRPr>
        </a:p>
      </dsp:txBody>
      <dsp:txXfrm>
        <a:off x="46496" y="1980080"/>
        <a:ext cx="10787733" cy="859489"/>
      </dsp:txXfrm>
    </dsp:sp>
    <dsp:sp modelId="{0E5177C7-801D-471B-9850-4FD8DFBC4036}">
      <dsp:nvSpPr>
        <dsp:cNvPr id="0" name=""/>
        <dsp:cNvSpPr/>
      </dsp:nvSpPr>
      <dsp:spPr>
        <a:xfrm>
          <a:off x="0" y="2899425"/>
          <a:ext cx="10880725" cy="95248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solidFill>
                <a:srgbClr val="FFFFFF"/>
              </a:solidFill>
              <a:latin typeface="Segoe UI"/>
              <a:ea typeface="+mn-ea"/>
              <a:cs typeface="+mn-cs"/>
            </a:rPr>
            <a:t>On queries not using </a:t>
          </a:r>
          <a:r>
            <a:rPr lang="en-US" sz="2400" b="0" i="0" kern="1200" noProof="0" dirty="0"/>
            <a:t>table variable deferred compilation</a:t>
          </a:r>
          <a:r>
            <a:rPr lang="en-US" sz="2400" kern="1200" noProof="0" dirty="0">
              <a:solidFill>
                <a:srgbClr val="FFFFFF"/>
              </a:solidFill>
              <a:latin typeface="Segoe UI"/>
              <a:ea typeface="+mn-ea"/>
              <a:cs typeface="+mn-cs"/>
            </a:rPr>
            <a:t>. How many rows are estimated for a table variable?</a:t>
          </a:r>
          <a:endParaRPr lang="en-US" sz="2400" kern="1200" noProof="0" dirty="0"/>
        </a:p>
      </dsp:txBody>
      <dsp:txXfrm>
        <a:off x="46496" y="2945921"/>
        <a:ext cx="10787733" cy="859489"/>
      </dsp:txXfrm>
    </dsp:sp>
    <dsp:sp modelId="{5055DFDF-D73C-4B98-B20D-23D111DE9D8D}">
      <dsp:nvSpPr>
        <dsp:cNvPr id="0" name=""/>
        <dsp:cNvSpPr/>
      </dsp:nvSpPr>
      <dsp:spPr>
        <a:xfrm>
          <a:off x="0" y="3865266"/>
          <a:ext cx="10880725" cy="952481"/>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is the minimum compatibility level that supports </a:t>
          </a:r>
          <a:r>
            <a:rPr lang="en-US" sz="2400" kern="1200" noProof="0" dirty="0">
              <a:solidFill>
                <a:srgbClr val="FFFFFF"/>
              </a:solidFill>
              <a:latin typeface="Segoe UI"/>
              <a:ea typeface="+mn-ea"/>
              <a:cs typeface="+mn-cs"/>
            </a:rPr>
            <a:t>Batch mode on rowstore?</a:t>
          </a:r>
        </a:p>
      </dsp:txBody>
      <dsp:txXfrm>
        <a:off x="46496" y="3911762"/>
        <a:ext cx="10787733" cy="85948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8589D-BD4A-49AE-87C3-4C0A359F4B92}">
      <dsp:nvSpPr>
        <dsp:cNvPr id="0" name=""/>
        <dsp:cNvSpPr/>
      </dsp:nvSpPr>
      <dsp:spPr>
        <a:xfrm>
          <a:off x="0" y="253683"/>
          <a:ext cx="11079164" cy="73631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The compiled plan.</a:t>
          </a:r>
          <a:endParaRPr lang="en-US" sz="1700" kern="1200" dirty="0"/>
        </a:p>
      </dsp:txBody>
      <dsp:txXfrm>
        <a:off x="0" y="253683"/>
        <a:ext cx="11079164" cy="736312"/>
      </dsp:txXfrm>
    </dsp:sp>
    <dsp:sp modelId="{FE5D72FD-32BF-4AE2-ACA8-290580A168D3}">
      <dsp:nvSpPr>
        <dsp:cNvPr id="0" name=""/>
        <dsp:cNvSpPr/>
      </dsp:nvSpPr>
      <dsp:spPr>
        <a:xfrm>
          <a:off x="553958" y="2763"/>
          <a:ext cx="7755414"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Estimated Execution Plan (Before Execution)</a:t>
          </a:r>
        </a:p>
      </dsp:txBody>
      <dsp:txXfrm>
        <a:off x="578456" y="27261"/>
        <a:ext cx="7706418" cy="452844"/>
      </dsp:txXfrm>
    </dsp:sp>
    <dsp:sp modelId="{A5DC065D-A216-4D8A-8BAA-A263DD53A95C}">
      <dsp:nvSpPr>
        <dsp:cNvPr id="0" name=""/>
        <dsp:cNvSpPr/>
      </dsp:nvSpPr>
      <dsp:spPr>
        <a:xfrm>
          <a:off x="0" y="1332715"/>
          <a:ext cx="11079164" cy="155295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 </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available after the execution completes, such as execution warnings, or in newer versions of the Database Engine, the elapsed and CPU time used during execution.</a:t>
          </a:r>
        </a:p>
      </dsp:txBody>
      <dsp:txXfrm>
        <a:off x="0" y="1332715"/>
        <a:ext cx="11079164" cy="1552950"/>
      </dsp:txXfrm>
    </dsp:sp>
    <dsp:sp modelId="{1FB297A9-E852-47A8-AEAB-9200D7CC69EB}">
      <dsp:nvSpPr>
        <dsp:cNvPr id="0" name=""/>
        <dsp:cNvSpPr/>
      </dsp:nvSpPr>
      <dsp:spPr>
        <a:xfrm>
          <a:off x="553958" y="1081795"/>
          <a:ext cx="7755414" cy="50184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rPr>
            <a:t>Actual Execution Plan (After Execution)</a:t>
          </a:r>
        </a:p>
      </dsp:txBody>
      <dsp:txXfrm>
        <a:off x="578456" y="1106293"/>
        <a:ext cx="7706418" cy="452844"/>
      </dsp:txXfrm>
    </dsp:sp>
    <dsp:sp modelId="{4B56EDFF-9421-4654-A094-7450365BA1B6}">
      <dsp:nvSpPr>
        <dsp:cNvPr id="0" name=""/>
        <dsp:cNvSpPr/>
      </dsp:nvSpPr>
      <dsp:spPr>
        <a:xfrm>
          <a:off x="0" y="3228385"/>
          <a:ext cx="11079164" cy="187425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during execution progress and is updated every second. Runtime information includes for example the actual number of rows flowing through the operators.</a:t>
          </a:r>
        </a:p>
        <a:p>
          <a:pPr marL="0" lvl="1" indent="0" algn="l" defTabSz="755650">
            <a:lnSpc>
              <a:spcPct val="90000"/>
            </a:lnSpc>
            <a:spcBef>
              <a:spcPct val="0"/>
            </a:spcBef>
            <a:spcAft>
              <a:spcPct val="15000"/>
            </a:spcAft>
            <a:buFont typeface="Arial" panose="020B0604020202020204" pitchFamily="34" charset="0"/>
            <a:buChar char="•"/>
          </a:pPr>
          <a:r>
            <a:rPr lang="en-US" sz="1700" kern="1200" dirty="0"/>
            <a:t>Enables rapid identification of potential bottlenecks.</a:t>
          </a:r>
          <a:endParaRPr lang="en-US" sz="1700" b="0" i="0" kern="1200" dirty="0"/>
        </a:p>
      </dsp:txBody>
      <dsp:txXfrm>
        <a:off x="0" y="3228385"/>
        <a:ext cx="11079164" cy="1874250"/>
      </dsp:txXfrm>
    </dsp:sp>
    <dsp:sp modelId="{F1481B12-F96B-4E05-BC6B-8478930FEF5C}">
      <dsp:nvSpPr>
        <dsp:cNvPr id="0" name=""/>
        <dsp:cNvSpPr/>
      </dsp:nvSpPr>
      <dsp:spPr>
        <a:xfrm>
          <a:off x="553958" y="2977465"/>
          <a:ext cx="7755414" cy="5018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sp:txBody>
      <dsp:txXfrm>
        <a:off x="578456" y="3001963"/>
        <a:ext cx="7706418" cy="4528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BB729-5FAF-4FDC-8763-0EC7070DA586}">
      <dsp:nvSpPr>
        <dsp:cNvPr id="0" name=""/>
        <dsp:cNvSpPr/>
      </dsp:nvSpPr>
      <dsp:spPr>
        <a:xfrm>
          <a:off x="55" y="542478"/>
          <a:ext cx="5285955" cy="6048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Row mode execution</a:t>
          </a:r>
          <a:endParaRPr lang="en-US" sz="2400" kern="1200" dirty="0"/>
        </a:p>
      </dsp:txBody>
      <dsp:txXfrm>
        <a:off x="55" y="542478"/>
        <a:ext cx="5285955" cy="604800"/>
      </dsp:txXfrm>
    </dsp:sp>
    <dsp:sp modelId="{CEAF6B90-0D08-4139-8A68-D903CFB5F089}">
      <dsp:nvSpPr>
        <dsp:cNvPr id="0" name=""/>
        <dsp:cNvSpPr/>
      </dsp:nvSpPr>
      <dsp:spPr>
        <a:xfrm>
          <a:off x="55" y="1147278"/>
          <a:ext cx="5285955" cy="372891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en-US" sz="2100" b="0" i="0" kern="1200" dirty="0"/>
            <a:t>Efficient for OLTP scenarios</a:t>
          </a:r>
          <a:endParaRPr lang="en-US" sz="2100" kern="1200" dirty="0"/>
        </a:p>
        <a:p>
          <a:pPr marL="228600" lvl="1" indent="-228600" algn="l" defTabSz="933450">
            <a:lnSpc>
              <a:spcPct val="90000"/>
            </a:lnSpc>
            <a:spcBef>
              <a:spcPct val="0"/>
            </a:spcBef>
            <a:spcAft>
              <a:spcPct val="15000"/>
            </a:spcAft>
            <a:buFont typeface="Arial" panose="020B0604020202020204" pitchFamily="34" charset="0"/>
            <a:buChar char="•"/>
          </a:pPr>
          <a:r>
            <a:rPr lang="en-US" sz="2100" b="0" i="0" kern="1200" dirty="0"/>
            <a:t>Used with traditional tables, where data is stored in row-wise format.</a:t>
          </a:r>
          <a:endParaRPr lang="en-US" sz="2100" kern="1200" dirty="0"/>
        </a:p>
        <a:p>
          <a:pPr marL="228600" lvl="1" indent="-228600" algn="l" defTabSz="933450">
            <a:lnSpc>
              <a:spcPct val="90000"/>
            </a:lnSpc>
            <a:spcBef>
              <a:spcPct val="0"/>
            </a:spcBef>
            <a:spcAft>
              <a:spcPct val="15000"/>
            </a:spcAft>
            <a:buFont typeface="Arial" panose="020B0604020202020204" pitchFamily="34" charset="0"/>
            <a:buChar char="•"/>
          </a:pPr>
          <a:r>
            <a:rPr lang="en-US" sz="2100" b="0" i="0" kern="1200" dirty="0"/>
            <a:t>Operators read all columns from qualifying rows based on predicate, and for each row it retrieves columns needed for the result set</a:t>
          </a:r>
          <a:endParaRPr lang="en-US" sz="2100" kern="1200" dirty="0"/>
        </a:p>
      </dsp:txBody>
      <dsp:txXfrm>
        <a:off x="55" y="1147278"/>
        <a:ext cx="5285955" cy="3728910"/>
      </dsp:txXfrm>
    </dsp:sp>
    <dsp:sp modelId="{70ECC63C-BB2F-4460-9AB9-B03533F828E3}">
      <dsp:nvSpPr>
        <dsp:cNvPr id="0" name=""/>
        <dsp:cNvSpPr/>
      </dsp:nvSpPr>
      <dsp:spPr>
        <a:xfrm>
          <a:off x="6026044" y="542478"/>
          <a:ext cx="5285955" cy="6048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Batch mode execution</a:t>
          </a:r>
          <a:endParaRPr lang="en-US" sz="2400" kern="1200" dirty="0"/>
        </a:p>
      </dsp:txBody>
      <dsp:txXfrm>
        <a:off x="6026044" y="542478"/>
        <a:ext cx="5285955" cy="604800"/>
      </dsp:txXfrm>
    </dsp:sp>
    <dsp:sp modelId="{7DEF81B7-7B1F-432A-95D0-EB9FB294D1B8}">
      <dsp:nvSpPr>
        <dsp:cNvPr id="0" name=""/>
        <dsp:cNvSpPr/>
      </dsp:nvSpPr>
      <dsp:spPr>
        <a:xfrm>
          <a:off x="6026044" y="1147278"/>
          <a:ext cx="5285955" cy="372891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b="0" i="0" kern="1200" dirty="0"/>
            <a:t>Efficient for Data Warehousing scenarios</a:t>
          </a:r>
          <a:endParaRPr lang="en-US" sz="2100" kern="1200" dirty="0"/>
        </a:p>
        <a:p>
          <a:pPr marL="228600" lvl="1" indent="-228600" algn="l" defTabSz="933450">
            <a:lnSpc>
              <a:spcPct val="90000"/>
            </a:lnSpc>
            <a:spcBef>
              <a:spcPct val="0"/>
            </a:spcBef>
            <a:spcAft>
              <a:spcPct val="15000"/>
            </a:spcAft>
            <a:buChar char="•"/>
          </a:pPr>
          <a:r>
            <a:rPr lang="en-US" sz="2100" b="0" i="0" kern="1200" dirty="0"/>
            <a:t>Used to process multiple rows together </a:t>
          </a:r>
          <a:endParaRPr lang="en-US" sz="2100" kern="1200" dirty="0"/>
        </a:p>
        <a:p>
          <a:pPr marL="228600" lvl="1" indent="-228600" algn="l" defTabSz="933450">
            <a:lnSpc>
              <a:spcPct val="90000"/>
            </a:lnSpc>
            <a:spcBef>
              <a:spcPct val="0"/>
            </a:spcBef>
            <a:spcAft>
              <a:spcPct val="15000"/>
            </a:spcAft>
            <a:buChar char="•"/>
          </a:pPr>
          <a:r>
            <a:rPr lang="en-US" sz="2100" b="0" i="0" kern="1200" dirty="0"/>
            <a:t>Closely integrated with, and optimized around the ColumnStore storage format</a:t>
          </a:r>
          <a:endParaRPr lang="en-US" sz="2100" kern="1200" dirty="0"/>
        </a:p>
        <a:p>
          <a:pPr marL="228600" lvl="1" indent="-228600" algn="l" defTabSz="933450">
            <a:lnSpc>
              <a:spcPct val="90000"/>
            </a:lnSpc>
            <a:spcBef>
              <a:spcPct val="0"/>
            </a:spcBef>
            <a:spcAft>
              <a:spcPct val="15000"/>
            </a:spcAft>
            <a:buChar char="•"/>
          </a:pPr>
          <a:r>
            <a:rPr lang="en-US" sz="2100" b="0" i="0" kern="1200" dirty="0"/>
            <a:t>Operators read only the columns required for the result, from group of rows together. </a:t>
          </a:r>
          <a:endParaRPr lang="en-US" sz="2100" kern="1200" dirty="0"/>
        </a:p>
        <a:p>
          <a:pPr marL="228600" lvl="1" indent="-228600" algn="l" defTabSz="933450">
            <a:lnSpc>
              <a:spcPct val="90000"/>
            </a:lnSpc>
            <a:spcBef>
              <a:spcPct val="0"/>
            </a:spcBef>
            <a:spcAft>
              <a:spcPct val="15000"/>
            </a:spcAft>
            <a:buChar char="•"/>
          </a:pPr>
          <a:r>
            <a:rPr lang="en-US" sz="2100" b="0" i="0" kern="1200" dirty="0"/>
            <a:t>Starting SQL Server 2019, Batch mode does not require a ColumnStore index as in the previous versions. </a:t>
          </a:r>
          <a:endParaRPr lang="en-US" sz="2100" kern="1200" dirty="0"/>
        </a:p>
      </dsp:txBody>
      <dsp:txXfrm>
        <a:off x="6026044" y="1147278"/>
        <a:ext cx="5285955" cy="372891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72C154-C68A-43EC-8D95-63277D421833}">
      <dsp:nvSpPr>
        <dsp:cNvPr id="0" name=""/>
        <dsp:cNvSpPr/>
      </dsp:nvSpPr>
      <dsp:spPr>
        <a:xfrm>
          <a:off x="3063081" y="1492545"/>
          <a:ext cx="2167152" cy="376117"/>
        </a:xfrm>
        <a:custGeom>
          <a:avLst/>
          <a:gdLst/>
          <a:ahLst/>
          <a:cxnLst/>
          <a:rect l="0" t="0" r="0" b="0"/>
          <a:pathLst>
            <a:path>
              <a:moveTo>
                <a:pt x="0" y="0"/>
              </a:moveTo>
              <a:lnTo>
                <a:pt x="0" y="188058"/>
              </a:lnTo>
              <a:lnTo>
                <a:pt x="2167152" y="188058"/>
              </a:lnTo>
              <a:lnTo>
                <a:pt x="2167152"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7A7AE8A4-D57B-4FC0-BB20-18486A0B1EF2}">
      <dsp:nvSpPr>
        <dsp:cNvPr id="0" name=""/>
        <dsp:cNvSpPr/>
      </dsp:nvSpPr>
      <dsp:spPr>
        <a:xfrm>
          <a:off x="3017361" y="1492545"/>
          <a:ext cx="91440" cy="376117"/>
        </a:xfrm>
        <a:custGeom>
          <a:avLst/>
          <a:gdLst/>
          <a:ahLst/>
          <a:cxnLst/>
          <a:rect l="0" t="0" r="0" b="0"/>
          <a:pathLst>
            <a:path>
              <a:moveTo>
                <a:pt x="45720" y="0"/>
              </a:moveTo>
              <a:lnTo>
                <a:pt x="4572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A7E2455-E11D-41BF-A377-31974C3C9CFF}">
      <dsp:nvSpPr>
        <dsp:cNvPr id="0" name=""/>
        <dsp:cNvSpPr/>
      </dsp:nvSpPr>
      <dsp:spPr>
        <a:xfrm>
          <a:off x="895928" y="1492545"/>
          <a:ext cx="2167152" cy="376117"/>
        </a:xfrm>
        <a:custGeom>
          <a:avLst/>
          <a:gdLst/>
          <a:ahLst/>
          <a:cxnLst/>
          <a:rect l="0" t="0" r="0" b="0"/>
          <a:pathLst>
            <a:path>
              <a:moveTo>
                <a:pt x="2167152" y="0"/>
              </a:moveTo>
              <a:lnTo>
                <a:pt x="2167152" y="188058"/>
              </a:lnTo>
              <a:lnTo>
                <a:pt x="0" y="188058"/>
              </a:lnTo>
              <a:lnTo>
                <a:pt x="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4D229AC-5C13-45F1-A5D1-6AEA78085079}">
      <dsp:nvSpPr>
        <dsp:cNvPr id="0" name=""/>
        <dsp:cNvSpPr/>
      </dsp:nvSpPr>
      <dsp:spPr>
        <a:xfrm>
          <a:off x="2167563" y="597028"/>
          <a:ext cx="1791034" cy="895517"/>
        </a:xfrm>
        <a:prstGeom prst="rect">
          <a:avLst/>
        </a:prstGeom>
        <a:solidFill>
          <a:srgbClr val="0E715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597028"/>
        <a:ext cx="1791034" cy="895517"/>
      </dsp:txXfrm>
    </dsp:sp>
    <dsp:sp modelId="{B9F78752-7D17-4C5F-80DC-021D7028CDDA}">
      <dsp:nvSpPr>
        <dsp:cNvPr id="0" name=""/>
        <dsp:cNvSpPr/>
      </dsp:nvSpPr>
      <dsp:spPr>
        <a:xfrm>
          <a:off x="411"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2</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xy’</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Jorge</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11" y="1868663"/>
        <a:ext cx="1791034" cy="895517"/>
      </dsp:txXfrm>
    </dsp:sp>
    <dsp:sp modelId="{D9C63EA9-4D2D-40C4-A131-5A603665E439}">
      <dsp:nvSpPr>
        <dsp:cNvPr id="0" name=""/>
        <dsp:cNvSpPr/>
      </dsp:nvSpPr>
      <dsp:spPr>
        <a:xfrm>
          <a:off x="2167563"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Nabil</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1868663"/>
        <a:ext cx="1791034" cy="895517"/>
      </dsp:txXfrm>
    </dsp:sp>
    <dsp:sp modelId="{CDFF83E9-5A77-42A5-84AE-924C54B5E10B}">
      <dsp:nvSpPr>
        <dsp:cNvPr id="0" name=""/>
        <dsp:cNvSpPr/>
      </dsp:nvSpPr>
      <dsp:spPr>
        <a:xfrm>
          <a:off x="4334715"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1</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sd’</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Walter</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334715" y="1868663"/>
        <a:ext cx="1791034" cy="89551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039D22-5AC4-42B5-9857-08FA4E60A21B}">
      <dsp:nvSpPr>
        <dsp:cNvPr id="0" name=""/>
        <dsp:cNvSpPr/>
      </dsp:nvSpPr>
      <dsp:spPr>
        <a:xfrm>
          <a:off x="443" y="674051"/>
          <a:ext cx="5494171" cy="1751713"/>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he </a:t>
          </a:r>
          <a:r>
            <a:rPr lang="en-US" sz="2400" b="1" kern="1200" dirty="0"/>
            <a:t>Object Plans</a:t>
          </a:r>
          <a:r>
            <a:rPr lang="en-US" sz="2400" kern="1200" dirty="0"/>
            <a:t> cache store (OBJCP) </a:t>
          </a:r>
        </a:p>
        <a:p>
          <a:pPr marL="0" lvl="0" indent="0" algn="ctr" defTabSz="1066800">
            <a:lnSpc>
              <a:spcPct val="90000"/>
            </a:lnSpc>
            <a:spcBef>
              <a:spcPct val="0"/>
            </a:spcBef>
            <a:spcAft>
              <a:spcPct val="35000"/>
            </a:spcAft>
            <a:buNone/>
          </a:pPr>
          <a:r>
            <a:rPr lang="en-US" sz="2400" kern="1200" dirty="0"/>
            <a:t>used for plans related to persisted objects (stored procedures, functions, and triggers).</a:t>
          </a:r>
        </a:p>
      </dsp:txBody>
      <dsp:txXfrm>
        <a:off x="443" y="674051"/>
        <a:ext cx="5494171" cy="1751713"/>
      </dsp:txXfrm>
    </dsp:sp>
    <dsp:sp modelId="{0607B600-7462-40FE-AD92-970B5E415713}">
      <dsp:nvSpPr>
        <dsp:cNvPr id="0" name=""/>
        <dsp:cNvSpPr/>
      </dsp:nvSpPr>
      <dsp:spPr>
        <a:xfrm>
          <a:off x="5660747" y="674051"/>
          <a:ext cx="5494171" cy="1751713"/>
        </a:xfrm>
        <a:prstGeom prst="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he </a:t>
          </a:r>
          <a:r>
            <a:rPr lang="en-US" sz="2300" b="1" kern="1200" dirty="0"/>
            <a:t>SQL </a:t>
          </a:r>
          <a:r>
            <a:rPr lang="en-US" sz="2400" b="1" kern="1200" dirty="0"/>
            <a:t>Plans</a:t>
          </a:r>
          <a:r>
            <a:rPr lang="en-US" sz="2400" kern="1200" dirty="0"/>
            <a:t> cache store (SQLCP) </a:t>
          </a:r>
        </a:p>
        <a:p>
          <a:pPr marL="0" lvl="0" indent="0" algn="ctr" defTabSz="1022350">
            <a:lnSpc>
              <a:spcPct val="90000"/>
            </a:lnSpc>
            <a:spcBef>
              <a:spcPct val="0"/>
            </a:spcBef>
            <a:spcAft>
              <a:spcPct val="35000"/>
            </a:spcAft>
            <a:buNone/>
          </a:pPr>
          <a:r>
            <a:rPr lang="en-US" sz="2400" kern="1200" dirty="0"/>
            <a:t>used for plans related to autoparameterized, dynamic, or prepared queries.</a:t>
          </a:r>
        </a:p>
      </dsp:txBody>
      <dsp:txXfrm>
        <a:off x="5660747" y="674051"/>
        <a:ext cx="5494171" cy="175171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6561AE-EB91-46FB-9CB1-DACF71BDC270}">
      <dsp:nvSpPr>
        <dsp:cNvPr id="0" name=""/>
        <dsp:cNvSpPr/>
      </dsp:nvSpPr>
      <dsp:spPr>
        <a:xfrm>
          <a:off x="51" y="185594"/>
          <a:ext cx="4913783" cy="6624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Compilation</a:t>
          </a:r>
        </a:p>
      </dsp:txBody>
      <dsp:txXfrm>
        <a:off x="51" y="185594"/>
        <a:ext cx="4913783" cy="662400"/>
      </dsp:txXfrm>
    </dsp:sp>
    <dsp:sp modelId="{7A91FE17-D52D-42E4-9023-C82B59410906}">
      <dsp:nvSpPr>
        <dsp:cNvPr id="0" name=""/>
        <dsp:cNvSpPr/>
      </dsp:nvSpPr>
      <dsp:spPr>
        <a:xfrm>
          <a:off x="51" y="847994"/>
          <a:ext cx="4913783" cy="3598695"/>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en-US" sz="2300" kern="1200" dirty="0"/>
            <a:t>Process of creating a good enough query execution plan, as quickly as possible for a query batch. </a:t>
          </a:r>
        </a:p>
        <a:p>
          <a:pPr marL="0" lvl="1" indent="0" algn="l" defTabSz="1022350">
            <a:lnSpc>
              <a:spcPct val="90000"/>
            </a:lnSpc>
            <a:spcBef>
              <a:spcPct val="0"/>
            </a:spcBef>
            <a:spcAft>
              <a:spcPct val="15000"/>
            </a:spcAft>
            <a:buNone/>
          </a:pPr>
          <a:endParaRPr lang="en-US" sz="2300" kern="1200" dirty="0"/>
        </a:p>
        <a:p>
          <a:pPr marL="0" lvl="1" indent="0" algn="l" defTabSz="1022350">
            <a:lnSpc>
              <a:spcPct val="90000"/>
            </a:lnSpc>
            <a:spcBef>
              <a:spcPct val="0"/>
            </a:spcBef>
            <a:spcAft>
              <a:spcPct val="15000"/>
            </a:spcAft>
            <a:buNone/>
          </a:pPr>
          <a:r>
            <a:rPr lang="en-US" sz="2300" kern="1200" dirty="0"/>
            <a:t>Refer to both the compilation of non-DML constructs in SQL statements (control flow, DDL, etc.) and the process of Query Optimization.</a:t>
          </a:r>
        </a:p>
      </dsp:txBody>
      <dsp:txXfrm>
        <a:off x="51" y="847994"/>
        <a:ext cx="4913783" cy="3598695"/>
      </dsp:txXfrm>
    </dsp:sp>
    <dsp:sp modelId="{F78F4538-100B-4C82-9CFE-2186CFD513CF}">
      <dsp:nvSpPr>
        <dsp:cNvPr id="0" name=""/>
        <dsp:cNvSpPr/>
      </dsp:nvSpPr>
      <dsp:spPr>
        <a:xfrm>
          <a:off x="5532136" y="144704"/>
          <a:ext cx="4913783" cy="6624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Query Execution</a:t>
          </a:r>
        </a:p>
      </dsp:txBody>
      <dsp:txXfrm>
        <a:off x="5532136" y="144704"/>
        <a:ext cx="4913783" cy="662400"/>
      </dsp:txXfrm>
    </dsp:sp>
    <dsp:sp modelId="{104DBD2F-E6D9-4451-9F99-A11E3EE6A967}">
      <dsp:nvSpPr>
        <dsp:cNvPr id="0" name=""/>
        <dsp:cNvSpPr/>
      </dsp:nvSpPr>
      <dsp:spPr>
        <a:xfrm>
          <a:off x="5532136" y="754320"/>
          <a:ext cx="4913783" cy="3598695"/>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en-US" sz="2300" kern="1200" dirty="0"/>
            <a:t>Process of executing the plan that is created during query compilation and optimization.</a:t>
          </a:r>
        </a:p>
      </dsp:txBody>
      <dsp:txXfrm>
        <a:off x="5532136" y="754320"/>
        <a:ext cx="4913783" cy="359869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97A6CF-9EAC-4430-9593-81E6FD90A45A}">
      <dsp:nvSpPr>
        <dsp:cNvPr id="0" name=""/>
        <dsp:cNvSpPr/>
      </dsp:nvSpPr>
      <dsp:spPr>
        <a:xfrm>
          <a:off x="0" y="33899"/>
          <a:ext cx="11056625" cy="154761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Most recompilations are required either for statement correctness or to obtain potentially faster query execution plan.</a:t>
          </a:r>
          <a:endParaRPr lang="en-US" sz="2600" kern="1200"/>
        </a:p>
      </dsp:txBody>
      <dsp:txXfrm>
        <a:off x="75548" y="109447"/>
        <a:ext cx="10905529" cy="1396521"/>
      </dsp:txXfrm>
    </dsp:sp>
    <dsp:sp modelId="{F4FEF3FC-9BCD-49CC-A9FB-C74CF051F99F}">
      <dsp:nvSpPr>
        <dsp:cNvPr id="0" name=""/>
        <dsp:cNvSpPr/>
      </dsp:nvSpPr>
      <dsp:spPr>
        <a:xfrm>
          <a:off x="0" y="1656396"/>
          <a:ext cx="11056625" cy="1547617"/>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The engine detects changes that invalidate execution plan(s) and marks those as not valid. New plan must be recompiled for the next query execution.</a:t>
          </a:r>
          <a:endParaRPr lang="en-US" sz="2600" kern="1200"/>
        </a:p>
      </dsp:txBody>
      <dsp:txXfrm>
        <a:off x="75548" y="1731944"/>
        <a:ext cx="10905529" cy="1396521"/>
      </dsp:txXfrm>
    </dsp:sp>
    <dsp:sp modelId="{9656EFC1-6C72-43BD-B835-5BA8B28AFC60}">
      <dsp:nvSpPr>
        <dsp:cNvPr id="0" name=""/>
        <dsp:cNvSpPr/>
      </dsp:nvSpPr>
      <dsp:spPr>
        <a:xfrm>
          <a:off x="0" y="3278894"/>
          <a:ext cx="11056625" cy="1547617"/>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Starting with SQL Server 2005, whenever a statement within a batch causes recompilation, only the statement inside the batch that triggers recompilation is recompiled. </a:t>
          </a:r>
          <a:endParaRPr lang="en-US" sz="2600" kern="1200"/>
        </a:p>
      </dsp:txBody>
      <dsp:txXfrm>
        <a:off x="75548" y="3354442"/>
        <a:ext cx="10905529" cy="13965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4794B-3E4D-49A5-9802-3FDD49AD4833}">
      <dsp:nvSpPr>
        <dsp:cNvPr id="0" name=""/>
        <dsp:cNvSpPr/>
      </dsp:nvSpPr>
      <dsp:spPr>
        <a:xfrm>
          <a:off x="4090" y="126050"/>
          <a:ext cx="2459851" cy="925748"/>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Table / Index Changes</a:t>
          </a:r>
        </a:p>
      </dsp:txBody>
      <dsp:txXfrm>
        <a:off x="4090" y="126050"/>
        <a:ext cx="2459851" cy="925748"/>
      </dsp:txXfrm>
    </dsp:sp>
    <dsp:sp modelId="{692384E3-A670-4ABB-966E-890EA55F6275}">
      <dsp:nvSpPr>
        <dsp:cNvPr id="0" name=""/>
        <dsp:cNvSpPr/>
      </dsp:nvSpPr>
      <dsp:spPr>
        <a:xfrm>
          <a:off x="4090" y="1051798"/>
          <a:ext cx="2459851" cy="3891037"/>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to objects referenced by the query (ALTER TABLE and ALTER VIEW).</a:t>
          </a:r>
        </a:p>
        <a:p>
          <a:pPr marL="171450" lvl="1" indent="-171450" algn="l" defTabSz="800100">
            <a:lnSpc>
              <a:spcPct val="90000"/>
            </a:lnSpc>
            <a:spcBef>
              <a:spcPct val="0"/>
            </a:spcBef>
            <a:spcAft>
              <a:spcPct val="15000"/>
            </a:spcAft>
            <a:buChar char="•"/>
          </a:pPr>
          <a:r>
            <a:rPr lang="en-US" sz="1800" kern="1200" dirty="0"/>
            <a:t>Changing or dropping any indexes used by the execution plan.</a:t>
          </a:r>
        </a:p>
      </dsp:txBody>
      <dsp:txXfrm>
        <a:off x="4090" y="1051798"/>
        <a:ext cx="2459851" cy="3891037"/>
      </dsp:txXfrm>
    </dsp:sp>
    <dsp:sp modelId="{49DF05AA-5F25-4000-9F09-8DCC5484F4DF}">
      <dsp:nvSpPr>
        <dsp:cNvPr id="0" name=""/>
        <dsp:cNvSpPr/>
      </dsp:nvSpPr>
      <dsp:spPr>
        <a:xfrm>
          <a:off x="2808321" y="126050"/>
          <a:ext cx="2459851" cy="925748"/>
        </a:xfrm>
        <a:prstGeom prst="rect">
          <a:avLst/>
        </a:prstGeom>
        <a:solidFill>
          <a:schemeClr val="accent3">
            <a:hueOff val="672623"/>
            <a:satOff val="0"/>
            <a:lumOff val="3333"/>
            <a:alphaOff val="0"/>
          </a:schemeClr>
        </a:solidFill>
        <a:ln w="12700" cap="flat" cmpd="sng" algn="ctr">
          <a:solidFill>
            <a:schemeClr val="accent3">
              <a:hueOff val="672623"/>
              <a:satOff val="0"/>
              <a:lumOff val="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Stored Procedures</a:t>
          </a:r>
        </a:p>
      </dsp:txBody>
      <dsp:txXfrm>
        <a:off x="2808321" y="126050"/>
        <a:ext cx="2459851" cy="925748"/>
      </dsp:txXfrm>
    </dsp:sp>
    <dsp:sp modelId="{BC544579-0BC5-4301-AA18-F0F341407B87}">
      <dsp:nvSpPr>
        <dsp:cNvPr id="0" name=""/>
        <dsp:cNvSpPr/>
      </dsp:nvSpPr>
      <dsp:spPr>
        <a:xfrm>
          <a:off x="2808321" y="1051798"/>
          <a:ext cx="2459851" cy="3891037"/>
        </a:xfrm>
        <a:prstGeom prst="rect">
          <a:avLst/>
        </a:prstGeom>
        <a:solidFill>
          <a:schemeClr val="accent3">
            <a:tint val="40000"/>
            <a:alpha val="90000"/>
            <a:hueOff val="1120883"/>
            <a:satOff val="6552"/>
            <a:lumOff val="854"/>
            <a:alphaOff val="0"/>
          </a:schemeClr>
        </a:solidFill>
        <a:ln w="12700" cap="flat" cmpd="sng" algn="ctr">
          <a:solidFill>
            <a:schemeClr val="accent3">
              <a:tint val="40000"/>
              <a:alpha val="90000"/>
              <a:hueOff val="1120883"/>
              <a:satOff val="6552"/>
              <a:lumOff val="8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to a single procedure, which would drop all plans for that procedure from the cache (ALTER PROCEDURE).</a:t>
          </a:r>
        </a:p>
        <a:p>
          <a:pPr marL="171450" lvl="1" indent="-171450" algn="l" defTabSz="800100">
            <a:lnSpc>
              <a:spcPct val="90000"/>
            </a:lnSpc>
            <a:spcBef>
              <a:spcPct val="0"/>
            </a:spcBef>
            <a:spcAft>
              <a:spcPct val="15000"/>
            </a:spcAft>
            <a:buChar char="•"/>
          </a:pPr>
          <a:r>
            <a:rPr lang="en-US" sz="1800" kern="1200" dirty="0"/>
            <a:t>Explicit call to sp_recompile.</a:t>
          </a:r>
        </a:p>
        <a:p>
          <a:pPr marL="171450" lvl="1" indent="-171450" algn="l" defTabSz="800100">
            <a:lnSpc>
              <a:spcPct val="90000"/>
            </a:lnSpc>
            <a:spcBef>
              <a:spcPct val="0"/>
            </a:spcBef>
            <a:spcAft>
              <a:spcPct val="15000"/>
            </a:spcAft>
            <a:buChar char="•"/>
          </a:pPr>
          <a:r>
            <a:rPr lang="en-US" sz="1800" kern="1200" dirty="0"/>
            <a:t>Executing a stored procedure using the WITH RECOMPILE option.</a:t>
          </a:r>
        </a:p>
      </dsp:txBody>
      <dsp:txXfrm>
        <a:off x="2808321" y="1051798"/>
        <a:ext cx="2459851" cy="3891037"/>
      </dsp:txXfrm>
    </dsp:sp>
    <dsp:sp modelId="{1D63FA16-3735-498C-9B05-F128A7CD58DC}">
      <dsp:nvSpPr>
        <dsp:cNvPr id="0" name=""/>
        <dsp:cNvSpPr/>
      </dsp:nvSpPr>
      <dsp:spPr>
        <a:xfrm>
          <a:off x="5612552" y="126050"/>
          <a:ext cx="2459851" cy="925748"/>
        </a:xfrm>
        <a:prstGeom prst="rect">
          <a:avLst/>
        </a:prstGeom>
        <a:solidFill>
          <a:schemeClr val="accent3">
            <a:hueOff val="1345247"/>
            <a:satOff val="0"/>
            <a:lumOff val="6667"/>
            <a:alphaOff val="0"/>
          </a:schemeClr>
        </a:solidFill>
        <a:ln w="12700" cap="flat" cmpd="sng" algn="ctr">
          <a:solidFill>
            <a:schemeClr val="accent3">
              <a:hueOff val="1345247"/>
              <a:satOff val="0"/>
              <a:lumOff val="6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ata Volume </a:t>
          </a:r>
        </a:p>
      </dsp:txBody>
      <dsp:txXfrm>
        <a:off x="5612552" y="126050"/>
        <a:ext cx="2459851" cy="925748"/>
      </dsp:txXfrm>
    </dsp:sp>
    <dsp:sp modelId="{987B902B-F277-421C-BE02-7F35A336CBAE}">
      <dsp:nvSpPr>
        <dsp:cNvPr id="0" name=""/>
        <dsp:cNvSpPr/>
      </dsp:nvSpPr>
      <dsp:spPr>
        <a:xfrm>
          <a:off x="5612552" y="1051798"/>
          <a:ext cx="2459851" cy="3891037"/>
        </a:xfrm>
        <a:prstGeom prst="rect">
          <a:avLst/>
        </a:prstGeom>
        <a:solidFill>
          <a:schemeClr val="accent3">
            <a:tint val="40000"/>
            <a:alpha val="90000"/>
            <a:hueOff val="2241766"/>
            <a:satOff val="13105"/>
            <a:lumOff val="1708"/>
            <a:alphaOff val="0"/>
          </a:schemeClr>
        </a:solidFill>
        <a:ln w="12700" cap="flat" cmpd="sng" algn="ctr">
          <a:solidFill>
            <a:schemeClr val="accent3">
              <a:tint val="40000"/>
              <a:alpha val="90000"/>
              <a:hueOff val="2241766"/>
              <a:satOff val="13105"/>
              <a:lumOff val="17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pdates on statistics used by the execution plan</a:t>
          </a:r>
        </a:p>
        <a:p>
          <a:pPr marL="171450" lvl="1" indent="-171450" algn="l" defTabSz="800100">
            <a:lnSpc>
              <a:spcPct val="90000"/>
            </a:lnSpc>
            <a:spcBef>
              <a:spcPct val="0"/>
            </a:spcBef>
            <a:spcAft>
              <a:spcPct val="15000"/>
            </a:spcAft>
            <a:buChar char="•"/>
          </a:pPr>
          <a:r>
            <a:rPr lang="en-US" sz="1800" kern="1200" dirty="0"/>
            <a:t>For tables with triggers, if the number of rows in the inserted or deleted tables grows significantly.</a:t>
          </a:r>
        </a:p>
      </dsp:txBody>
      <dsp:txXfrm>
        <a:off x="5612552" y="1051798"/>
        <a:ext cx="2459851" cy="3891037"/>
      </dsp:txXfrm>
    </dsp:sp>
    <dsp:sp modelId="{A1B832A2-484A-4A54-B410-9FEFA46DEBBC}">
      <dsp:nvSpPr>
        <dsp:cNvPr id="0" name=""/>
        <dsp:cNvSpPr/>
      </dsp:nvSpPr>
      <dsp:spPr>
        <a:xfrm>
          <a:off x="8416783" y="126050"/>
          <a:ext cx="2459851" cy="925748"/>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Other</a:t>
          </a:r>
        </a:p>
      </dsp:txBody>
      <dsp:txXfrm>
        <a:off x="8416783" y="126050"/>
        <a:ext cx="2459851" cy="925748"/>
      </dsp:txXfrm>
    </dsp:sp>
    <dsp:sp modelId="{8AE9F398-0D24-4499-AAA5-821316E97008}">
      <dsp:nvSpPr>
        <dsp:cNvPr id="0" name=""/>
        <dsp:cNvSpPr/>
      </dsp:nvSpPr>
      <dsp:spPr>
        <a:xfrm>
          <a:off x="8416783" y="1051798"/>
          <a:ext cx="2459851" cy="3891037"/>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Large numbers of changes to keys (generated by statements from other users that modify a table referenced by the query).</a:t>
          </a:r>
        </a:p>
        <a:p>
          <a:pPr marL="171450" lvl="1" indent="-171450" algn="l" defTabSz="800100">
            <a:lnSpc>
              <a:spcPct val="90000"/>
            </a:lnSpc>
            <a:spcBef>
              <a:spcPct val="0"/>
            </a:spcBef>
            <a:spcAft>
              <a:spcPct val="15000"/>
            </a:spcAft>
            <a:buChar char="•"/>
          </a:pPr>
          <a:r>
            <a:rPr lang="en-US" sz="1800" kern="1200" dirty="0"/>
            <a:t>Temporary table changes</a:t>
          </a:r>
        </a:p>
      </dsp:txBody>
      <dsp:txXfrm>
        <a:off x="8416783" y="1051798"/>
        <a:ext cx="2459851" cy="389103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7.02.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2/7/2023</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ocs.microsoft.com/en-us/previous-versions/sql/sql-server-2012/dn148262(v=msdn.10)"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sql/relational-databases/showplan-logical-and-physical-operators-reference?view=sql-server-ver15"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docs.microsoft.com/en-us/sql/relational-databases/performance/live-query-statistics"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view=sql-server-ver15#batch-mode-execution"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docs.microsoft.com/en-us/sql/relational-databases/performance/joins#adaptive"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sql/relational-databases/user-defined-functions/create-user-defined-functions-database-engine?view=sql-server-ver15#TVF"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docs.microsoft.com/en-us/sql/relational-databases/performance/intelligent-query-processing#interleaved-execution-for-mstvfs"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sql/relational-databases/performance/intelligent-query-processing#batch-mode-memory-grant-feedback"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docs.microsoft.com/en-us/sql/relational-databases/performance/intelligent-query-processing#row-mode-memory-grant-feedback"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docs.microsoft.com/en-us/sql/relational-databases/performance/intelligent-query-processing#table-variable-deferred-compilation"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sql/t-sql/functions/approx-count-distinct-transact-sql"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sql/relational-databases/performance/intelligent-query-processing#batch-mode-on-rowstore"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sql/relational-databases/user-defined-functions/scalar-udf-inlining"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is a cost-based optimizer. Each possible execution plan has an associated cost in terms of the amount of computing resources used. The Query Optimizer must analyze the possible plans and choose the one with the lowest estimated cost. Some complex SELECT statements have thousands of possible execution plans. In these cases, the Query Optimizer does not analyze all possible combinations. Instead, it uses complex algorithms to find an execution plan that has a cost reasonably close to the minimum possible cost.</a:t>
            </a:r>
          </a:p>
          <a:p>
            <a:pPr marL="0" marR="0">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does not choose only the execution plan with the lowest resource cost; it chooses the plan that returns results to the user with a reasonable cost in resources and that returns the results the fastest. For example, processing a query in parallel typically uses more resources than processing it serially, but completes the query faster. The SQL Server Query Optimizer will use a parallel execution plan to return results if the load on the server will not be adversely affected.</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dirty="0">
                <a:effectLst/>
                <a:latin typeface="Times New Roman" panose="02020603050405020304" pitchFamily="18"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relies on distribution statistics when it estimates the resource costs of different methods for extracting information from a table or index.</a:t>
            </a:r>
          </a:p>
          <a:p>
            <a:pPr marL="0" marR="0">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is important because it enables the database server to adjust dynamically to changing conditions in the database without requiring input from a programmer or database administrator. This enables programmers to focus on describing the final result of the query. They can trust that the SQL Server Query Optimizer will build an efficient execution plan for the state of the database every time the statement is run.</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rivial plan optimization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f SQL Server knows that there is only one viable plan for a query, a lot of work can be avoided. For example, where there is only one possible plan:</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 query that consists of an INSERT with a VALUES clause.</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 SELECT statement for which all the columns are among the keys of a unique composite index, and that index is the only one that is relevant. No other index has that set of columns in it. </a:t>
            </a:r>
            <a:endParaRPr lang="en-US" sz="1200" dirty="0">
              <a:effectLst/>
              <a:latin typeface="Times New Roman" panose="02020603050405020304" pitchFamily="18" charset="0"/>
              <a:ea typeface="Times New Roman" panose="02020603050405020304" pitchFamily="18" charset="0"/>
            </a:endParaRPr>
          </a:p>
          <a:p>
            <a:pPr marL="0" marR="0" indent="-118745">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trivial plan query optimizer finds the really obvious plans that are typically very inexpensive. This saves the query optimizer from having to consider every possible plan, which can be costly and can outweigh any benefit provided by well-optimized queries.</a:t>
            </a:r>
          </a:p>
          <a:p>
            <a:pPr marL="0" marR="0" indent="-118745">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implification </a:t>
            </a:r>
            <a:endParaRPr lang="en-US" sz="1200" dirty="0">
              <a:effectLst/>
              <a:latin typeface="Times New Roman" panose="02020603050405020304" pitchFamily="18" charset="0"/>
              <a:ea typeface="Times New Roman" panose="02020603050405020304" pitchFamily="18" charset="0"/>
            </a:endParaRPr>
          </a:p>
          <a:p>
            <a:pPr marL="0" marR="0" indent="-109855">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f there is no trivial plan, SQL Server will perform a simplification. These are usually syntactic transformations of the query itself, to look for commutative properties and operations that can be rearranged. There is no cost or available index analysis. SQL Server then loads up the metadata, including the statistical information on the indexes. </a:t>
            </a:r>
          </a:p>
          <a:p>
            <a:pPr marL="0" marR="0" indent="-109855">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st-based optimization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 set of transformation rules is followed that apply various permutations of data access strategies, join orders, aggregation placement, subquery transformations, and other rules that guarantee that a correct result is returned.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ptimization is broken up into three search phases to prevent the process from taking much longer than the execution of the query.</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QL Server evaluates the cost of the cheapest plan after each phase and executes that plan, if the plan is cheap enough. Otherwise, the query optimizer runs the next phase, which involves another set of usually more complex rules.</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tabLst>
                <a:tab pos="914400" algn="l"/>
              </a:tabLs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se 0 – Transactional Processing Phase</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Contains a very limited set of rules and is applied only to simple queries with three or fewer tables. A limited number of join orders are evaluated, which may generate many potential plan candidates. Hash and nested loop join strategies are considered. If a plan with an estimated cost below 0.2 is found, the optimization ends and the query is executed. This phase is also known as the Transaction Processing phase, because query plans produced by this phase are typically found for queries in online transaction processing (OLTP) applications.</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tabLst>
                <a:tab pos="914400" algn="l"/>
              </a:tabLs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se 1 – Quick Plan Optimization Phase</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More transformation rules and different join orders are evaluated. If the best plan costs less than 1.0, the optimization ends. </a:t>
            </a:r>
            <a:endParaRPr lang="en-US" sz="1200" dirty="0">
              <a:effectLst/>
              <a:latin typeface="Times New Roman" panose="02020603050405020304" pitchFamily="18" charset="0"/>
              <a:ea typeface="Times New Roman" panose="02020603050405020304" pitchFamily="18" charset="0"/>
            </a:endParaRPr>
          </a:p>
          <a:p>
            <a:pPr marL="484505"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query optimizer has considered only non-parallel execution plans so far. Phase 1 is repeated with the goal of finding the best parallel plan if:</a:t>
            </a:r>
            <a:endParaRPr lang="en-US" sz="1200" dirty="0">
              <a:effectLst/>
              <a:latin typeface="Times New Roman" panose="02020603050405020304" pitchFamily="18" charset="0"/>
              <a:ea typeface="Times New Roman" panose="02020603050405020304" pitchFamily="18" charset="0"/>
            </a:endParaRPr>
          </a:p>
          <a:p>
            <a:pPr marL="2057400" marR="0" lvl="4" indent="-228600">
              <a:spcBef>
                <a:spcPts val="0"/>
              </a:spcBef>
              <a:spcAft>
                <a:spcPts val="0"/>
              </a:spcAft>
              <a:buFont typeface="Courier New" panose="02070309020205020404" pitchFamily="49" charset="0"/>
              <a:buChar char="o"/>
              <a:tabLst>
                <a:tab pos="2286000" algn="l"/>
              </a:tabLs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ore than one logical CPU is available to SQL Server.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2057400" marR="0" lvl="4" indent="-228600">
              <a:spcBef>
                <a:spcPts val="0"/>
              </a:spcBef>
              <a:spcAft>
                <a:spcPts val="0"/>
              </a:spcAft>
              <a:buFont typeface="Courier New" panose="02070309020205020404" pitchFamily="49" charset="0"/>
              <a:buChar char="o"/>
              <a:tabLst>
                <a:tab pos="2286000" algn="l"/>
              </a:tabLs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least expensive plan produced by Phase 1 costs more than the Cost Threshold for Parallelism.</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2057400" marR="0" lvl="4" indent="-228600">
              <a:spcBef>
                <a:spcPts val="0"/>
              </a:spcBef>
              <a:spcAft>
                <a:spcPts val="0"/>
              </a:spcAft>
              <a:buFont typeface="Courier New" panose="02070309020205020404" pitchFamily="49" charset="0"/>
              <a:buChar char="o"/>
              <a:tabLst>
                <a:tab pos="2286000" algn="l"/>
              </a:tabLs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cost is &gt;= 1.</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tabLst>
                <a:tab pos="914400" algn="l"/>
              </a:tabLs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se 2 – Full Optimization Phase</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The cost of the serial and parallel plans are compared and Phase 2 is executed for the cheaper plan. Outer join reordering and automatic indexed view substitution for multi-table views are also considered.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n internal timeout can occur and the Query Optimizer stops the optimization process and returns the least expensive plan it has found so far. This timeout event is also shown on the properties of a graphical plan as </a:t>
            </a: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ason For Early Termination of Statement Optimization </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r on an XML plan as </a:t>
            </a:r>
            <a:r>
              <a:rPr lang="en-US" sz="1000" b="1" kern="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tatementOptmEarlyAbortReason</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 should be aware that if the full optimization phase produced a parallel plan for this query, it does not necessarily mean that the plan will be executed on multiple processors. If the machine is very busy, and cannot support running a single query on multiple CPUs, the plan </a:t>
            </a:r>
            <a:endParaRPr lang="en-US" sz="1200" dirty="0">
              <a:effectLst/>
              <a:latin typeface="Times New Roman" panose="02020603050405020304" pitchFamily="18" charset="0"/>
              <a:ea typeface="Times New Roman" panose="02020603050405020304" pitchFamily="18" charset="0"/>
            </a:endParaRPr>
          </a:p>
          <a:p>
            <a:pPr marL="0" marR="0">
              <a:lnSpc>
                <a:spcPct val="107000"/>
              </a:lnSpc>
              <a:spcBef>
                <a:spcPts val="0"/>
              </a:spcBef>
              <a:spcAft>
                <a:spcPts val="800"/>
              </a:spcAft>
            </a:pPr>
            <a:r>
              <a:rPr lang="en-US" sz="10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1390579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7663953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Plan Caching and Recompilation in SQL Server 2012 </a:t>
            </a:r>
            <a:r>
              <a:rPr lang="en-US" b="1" dirty="0"/>
              <a:t>- </a:t>
            </a:r>
            <a:r>
              <a:rPr lang="en-US" dirty="0">
                <a:hlinkClick r:id="rId4"/>
              </a:rPr>
              <a:t>https://docs.microsoft.com/en-us/previous-versions/sql/sql-server-2012/dn148262(v=msdn.10)</a:t>
            </a:r>
            <a:endParaRPr lang="en-US" b="1"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28825346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34383987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7</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7/2023</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noProof="0" dirty="0"/>
              <a:t>Q: What is meant by SQL Server’s query optimizer being </a:t>
            </a:r>
            <a:r>
              <a:rPr lang="en-US" b="1" noProof="0" dirty="0"/>
              <a:t>cost-based</a:t>
            </a:r>
            <a:r>
              <a:rPr lang="en-US" noProof="0" dirty="0"/>
              <a:t>?</a:t>
            </a:r>
          </a:p>
          <a:p>
            <a:pPr lvl="0"/>
            <a:r>
              <a:rPr lang="en-US" noProof="0" dirty="0"/>
              <a:t>A: Cost-based means that SQL Server tries to optimize queries based on the estimated resources that it will take to run the query.</a:t>
            </a:r>
          </a:p>
          <a:p>
            <a:pPr marL="0" lvl="0" indent="0">
              <a:buFont typeface="Arial" panose="020B0604020202020204" pitchFamily="34" charset="0"/>
              <a:buNone/>
            </a:pPr>
            <a:endParaRPr lang="en-US" noProof="0" dirty="0"/>
          </a:p>
          <a:p>
            <a:pPr lvl="0"/>
            <a:r>
              <a:rPr lang="en-US" noProof="0" dirty="0"/>
              <a:t>Q: When is a query considered for a parallel execution plan?</a:t>
            </a:r>
          </a:p>
          <a:p>
            <a:pPr lvl="1"/>
            <a:r>
              <a:rPr lang="en-US" noProof="0" dirty="0"/>
              <a:t>SQL Server will consider a parallel execution plan if more than one logical CPU is available to SQL Server. The least expensive plan produced by Phase 1 costs more than the Cost Threshold for Parallelism.</a:t>
            </a:r>
          </a:p>
          <a:p>
            <a:pPr lvl="0"/>
            <a:endParaRPr lang="en-US" noProof="0" dirty="0"/>
          </a:p>
          <a:p>
            <a:pPr lvl="0"/>
            <a:r>
              <a:rPr lang="en-US" noProof="0" dirty="0"/>
              <a:t>Q: Will SQL Server evaluate every possible query plan in the process of optimization? Why?</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noProof="0" dirty="0"/>
              <a:t>A: No, SQL Server will not consider every possible plan, because in many cases, this could prove to cost more than running the query with a non-optimal plan. SQL Server will choose a plan that is </a:t>
            </a:r>
            <a:r>
              <a:rPr lang="en-US" i="1" noProof="0" dirty="0"/>
              <a:t>good enough</a:t>
            </a:r>
            <a:r>
              <a:rPr lang="en-US" noProof="0" dirty="0"/>
              <a:t>.</a:t>
            </a:r>
          </a:p>
          <a:p>
            <a:pPr lvl="0"/>
            <a:endParaRPr lang="en-US" noProof="0" dirty="0"/>
          </a:p>
          <a:p>
            <a:pPr lvl="0"/>
            <a:r>
              <a:rPr lang="en-US" noProof="0" dirty="0"/>
              <a:t>Q:Name two recompilation causes.</a:t>
            </a:r>
          </a:p>
          <a:p>
            <a:r>
              <a:rPr lang="en-US" noProof="0" dirty="0"/>
              <a:t>A: Several possible options</a:t>
            </a:r>
          </a:p>
          <a:p>
            <a:pPr marL="171450" lvl="0" indent="-171450">
              <a:buFont typeface="Arial" panose="020B0604020202020204" pitchFamily="34" charset="0"/>
              <a:buChar char="•"/>
            </a:pPr>
            <a:r>
              <a:rPr lang="en-US" sz="900" b="0" noProof="0" dirty="0"/>
              <a:t>Changes made to a table or view referenced by the query (ALTER TABLE and ALTER VIEW).</a:t>
            </a:r>
          </a:p>
          <a:p>
            <a:pPr marL="171450" lvl="0" indent="-171450">
              <a:buFont typeface="Arial" panose="020B0604020202020204" pitchFamily="34" charset="0"/>
              <a:buChar char="•"/>
            </a:pPr>
            <a:r>
              <a:rPr lang="en-US" sz="900" b="0" noProof="0" dirty="0"/>
              <a:t>Changes made to a single procedure, which would drop all plans for that procedure from the cache (ALTER PROCEDURE).</a:t>
            </a:r>
          </a:p>
          <a:p>
            <a:pPr marL="171450" lvl="0" indent="-171450">
              <a:buFont typeface="Arial" panose="020B0604020202020204" pitchFamily="34" charset="0"/>
              <a:buChar char="•"/>
            </a:pPr>
            <a:r>
              <a:rPr lang="en-US" sz="900" b="0" noProof="0" dirty="0"/>
              <a:t>Changes to any indexes used by the execution plan.</a:t>
            </a:r>
          </a:p>
          <a:p>
            <a:pPr marL="171450" lvl="0" indent="-171450">
              <a:buFont typeface="Arial" panose="020B0604020202020204" pitchFamily="34" charset="0"/>
              <a:buChar char="•"/>
            </a:pPr>
            <a:r>
              <a:rPr lang="en-US" sz="900" b="0" noProof="0" dirty="0"/>
              <a:t>Updates on statistics used by the execution plan (explicitly or generated automatically).</a:t>
            </a:r>
          </a:p>
          <a:p>
            <a:pPr marL="171450" lvl="0" indent="-171450">
              <a:buFont typeface="Arial" panose="020B0604020202020204" pitchFamily="34" charset="0"/>
              <a:buChar char="•"/>
            </a:pPr>
            <a:r>
              <a:rPr lang="en-US" sz="900" b="0" noProof="0" dirty="0"/>
              <a:t>Dropping an index used by the execution plan.</a:t>
            </a:r>
          </a:p>
          <a:p>
            <a:pPr marL="171450" lvl="0" indent="-171450">
              <a:buFont typeface="Arial" panose="020B0604020202020204" pitchFamily="34" charset="0"/>
              <a:buChar char="•"/>
            </a:pPr>
            <a:r>
              <a:rPr lang="en-US" sz="900" b="0" noProof="0" dirty="0"/>
              <a:t>An explicit call to sp_recompile.</a:t>
            </a:r>
          </a:p>
          <a:p>
            <a:pPr marL="171450" lvl="0" indent="-171450">
              <a:buFont typeface="Arial" panose="020B0604020202020204" pitchFamily="34" charset="0"/>
              <a:buChar char="•"/>
            </a:pPr>
            <a:r>
              <a:rPr lang="en-US" sz="900" b="0" noProof="0" dirty="0"/>
              <a:t>Large numbers of changes to keys (generated by statements from other users that modify a table referenced by the query).</a:t>
            </a:r>
          </a:p>
          <a:p>
            <a:pPr marL="171450" lvl="0" indent="-171450">
              <a:buFont typeface="Arial" panose="020B0604020202020204" pitchFamily="34" charset="0"/>
              <a:buChar char="•"/>
            </a:pPr>
            <a:r>
              <a:rPr lang="en-US" sz="900" b="0" noProof="0" dirty="0"/>
              <a:t>For tables with triggers, if the number of rows in the inserted or deleted tables grows significantly.</a:t>
            </a:r>
          </a:p>
          <a:p>
            <a:pPr marL="171450" lvl="0" indent="-171450">
              <a:buFont typeface="Arial" panose="020B0604020202020204" pitchFamily="34" charset="0"/>
              <a:buChar char="•"/>
            </a:pPr>
            <a:r>
              <a:rPr lang="en-US" sz="900" b="0" noProof="0" dirty="0"/>
              <a:t>Executing a stored procedure using the WITH RECOMPILE option.</a:t>
            </a:r>
          </a:p>
          <a:p>
            <a:pPr marL="171450" lvl="0" indent="-171450">
              <a:buFont typeface="Arial" panose="020B0604020202020204" pitchFamily="34" charset="0"/>
              <a:buChar char="•"/>
            </a:pPr>
            <a:r>
              <a:rPr lang="en-US" sz="900" b="0" i="0" noProof="0" dirty="0"/>
              <a:t>Temporary table changed.</a:t>
            </a:r>
            <a:endParaRPr lang="en-US" sz="900" b="0" noProof="0" dirty="0"/>
          </a:p>
          <a:p>
            <a:endParaRPr lang="en-US" noProof="0" dirty="0"/>
          </a:p>
          <a:p>
            <a:pPr marL="171450" indent="-171450">
              <a:buFont typeface="Arial" panose="020B0604020202020204" pitchFamily="34" charset="0"/>
              <a:buChar char="•"/>
            </a:pPr>
            <a:endParaRPr lang="en-US" noProof="0" dirty="0"/>
          </a:p>
          <a:p>
            <a:endParaRPr lang="en-US" noProof="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24125290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049738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The basic guidelines for analyzing a query plan are:</a:t>
            </a:r>
          </a:p>
          <a:p>
            <a:pPr lvl="1"/>
            <a:r>
              <a:rPr lang="en-US" dirty="0"/>
              <a:t>Flow of data is read from right to left.</a:t>
            </a:r>
          </a:p>
          <a:p>
            <a:pPr lvl="1"/>
            <a:r>
              <a:rPr lang="en-US" dirty="0"/>
              <a:t>The width of the arrows gives an indication of the number of rows in each dataset, such as the one coming from the Customer table CL IX scan. This can often be a clue to high resource usage.</a:t>
            </a:r>
          </a:p>
          <a:p>
            <a:pPr lvl="0"/>
            <a:r>
              <a:rPr lang="en-US" dirty="0"/>
              <a:t>For joins:</a:t>
            </a:r>
          </a:p>
          <a:p>
            <a:pPr lvl="1"/>
            <a:r>
              <a:rPr lang="en-US" dirty="0"/>
              <a:t>The outer table appears on top.</a:t>
            </a:r>
          </a:p>
          <a:p>
            <a:pPr lvl="1"/>
            <a:r>
              <a:rPr lang="en-US" dirty="0"/>
              <a:t>Resultsets are created from each join pair, which is then passed to the next join.</a:t>
            </a:r>
          </a:p>
          <a:p>
            <a:pPr lvl="0"/>
            <a:r>
              <a:rPr lang="en-US" dirty="0"/>
              <a:t>Two crucial facts affect join performance:</a:t>
            </a:r>
          </a:p>
          <a:p>
            <a:pPr lvl="1"/>
            <a:r>
              <a:rPr lang="en-US" dirty="0"/>
              <a:t>The order in which more than two tables are joined.</a:t>
            </a:r>
          </a:p>
          <a:p>
            <a:pPr lvl="1"/>
            <a:r>
              <a:rPr lang="en-US" dirty="0"/>
              <a:t>The selection of outer/inner table.</a:t>
            </a:r>
          </a:p>
          <a:p>
            <a:r>
              <a:rPr lang="en-US" dirty="0"/>
              <a:t>Joins producing smaller result sets are performed first.</a:t>
            </a:r>
          </a:p>
          <a:p>
            <a:r>
              <a:rPr lang="en-US" dirty="0"/>
              <a:t>Local predicates are applied before the join.</a:t>
            </a:r>
          </a:p>
          <a:p>
            <a:r>
              <a:rPr lang="en-US" dirty="0"/>
              <a:t>Joins that reduce the number of rows are performed first.</a:t>
            </a:r>
          </a:p>
          <a:p>
            <a:r>
              <a:rPr lang="en-US" dirty="0"/>
              <a:t>Aggregation may be performed before the join.</a:t>
            </a:r>
          </a:p>
          <a:p>
            <a:endParaRPr lang="en-US" dirty="0"/>
          </a:p>
          <a:p>
            <a:r>
              <a:rPr lang="en-US" dirty="0"/>
              <a:t>This is all dependent on the accuracy of the statistics the Microsoft</a:t>
            </a:r>
            <a:r>
              <a:rPr lang="en-US" baseline="0" dirty="0"/>
              <a:t> </a:t>
            </a:r>
            <a:r>
              <a:rPr lang="en-US" dirty="0"/>
              <a:t>SQL Server Query processor has at compilation time.</a:t>
            </a:r>
          </a:p>
          <a:p>
            <a:endParaRPr lang="en-US" dirty="0"/>
          </a:p>
          <a:p>
            <a:r>
              <a:rPr lang="en-US" b="1" dirty="0"/>
              <a:t>Example Query:</a:t>
            </a:r>
          </a:p>
          <a:p>
            <a:endParaRPr lang="en-US" b="1" dirty="0"/>
          </a:p>
          <a:p>
            <a:pPr marL="173028" lvl="1" indent="0">
              <a:buNone/>
            </a:pPr>
            <a:r>
              <a:rPr lang="en-US" dirty="0">
                <a:latin typeface="Consolas" panose="020B0609020204030204" pitchFamily="49" charset="0"/>
              </a:rPr>
              <a:t>SELECT p.Title + ' ' + p.FirstName + ' ' + p.LastName AS FullName, c.AccountNumber, s.Name</a:t>
            </a:r>
          </a:p>
          <a:p>
            <a:pPr marL="173028" lvl="1" indent="0">
              <a:buNone/>
            </a:pPr>
            <a:r>
              <a:rPr lang="en-US" dirty="0">
                <a:latin typeface="Consolas" panose="020B0609020204030204" pitchFamily="49" charset="0"/>
              </a:rPr>
              <a:t>FROM Person.Person AS p </a:t>
            </a:r>
          </a:p>
          <a:p>
            <a:pPr marL="173028" lvl="1" indent="0">
              <a:buNone/>
            </a:pPr>
            <a:r>
              <a:rPr lang="en-US" dirty="0">
                <a:latin typeface="Consolas" panose="020B0609020204030204" pitchFamily="49" charset="0"/>
              </a:rPr>
              <a:t>INNER JOIN Sales.Customer AS c ON c.PersonID = p.BusinessEntityID </a:t>
            </a:r>
          </a:p>
          <a:p>
            <a:pPr marL="173028" lvl="1" indent="0">
              <a:buNone/>
            </a:pPr>
            <a:r>
              <a:rPr lang="en-US" dirty="0">
                <a:latin typeface="Consolas" panose="020B0609020204030204" pitchFamily="49" charset="0"/>
              </a:rPr>
              <a:t>INNER JOIN Sales.Store AS s ON s.BusinessEntityID = c.StoreID</a:t>
            </a:r>
          </a:p>
          <a:p>
            <a:pPr marL="173028" lvl="1" indent="0">
              <a:buNone/>
            </a:pPr>
            <a:r>
              <a:rPr lang="en-US" dirty="0">
                <a:latin typeface="Consolas" panose="020B0609020204030204" pitchFamily="49" charset="0"/>
              </a:rPr>
              <a:t>WHERE p.LastName = 'Koski’</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 1 and 2 are joined using a nested loops join, creating resultset 3.</a:t>
            </a:r>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s 3 and 4 are joined using a hash match join, creating resultset 5.</a:t>
            </a:r>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s 5 and 6 are joined using a nested loops join, creating a resultset for the Select claus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AU" dirty="0">
              <a:solidFill>
                <a:srgbClr val="000000"/>
              </a:solidFill>
              <a:latin typeface="Segoe UI" panose="020B0502040204020203" pitchFamily="34" charset="0"/>
              <a:cs typeface="Segoe UI" panose="020B0502040204020203" pitchFamily="34" charset="0"/>
            </a:endParaRP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6594968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u="none" strike="noStrike" kern="1200" baseline="0" dirty="0">
                <a:solidFill>
                  <a:schemeClr val="tx1"/>
                </a:solidFill>
                <a:latin typeface="+mn-lt"/>
                <a:ea typeface="+mn-ea"/>
                <a:cs typeface="+mn-cs"/>
              </a:rPr>
              <a:t>Arrows represent the data flow between the iterators. </a:t>
            </a:r>
          </a:p>
          <a:p>
            <a:pPr marL="171450" indent="-171450">
              <a:buFont typeface="Arial" panose="020B0604020202020204" pitchFamily="34" charset="0"/>
              <a:buChar char="•"/>
            </a:pPr>
            <a:endParaRPr lang="en-US" sz="882"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US" sz="882" b="0" i="0" u="none" strike="noStrike" kern="1200" baseline="0" dirty="0">
                <a:solidFill>
                  <a:schemeClr val="tx1"/>
                </a:solidFill>
                <a:latin typeface="+mn-lt"/>
                <a:ea typeface="+mn-ea"/>
                <a:cs typeface="+mn-cs"/>
              </a:rPr>
              <a:t>ToolTips provide detailed help, including a description of statistical data on each iterator; this includes estimates of the number of rows generated by each operator (that is, the cardinality estimates), the average row size, and the cost of the operator</a:t>
            </a:r>
            <a:r>
              <a:rPr lang="en-US" sz="882" b="0" i="0" u="none" strike="noStrike" kern="1200" baseline="0">
                <a:solidFill>
                  <a:schemeClr val="tx1"/>
                </a:solidFill>
                <a:latin typeface="+mn-lt"/>
                <a:ea typeface="+mn-ea"/>
                <a:cs typeface="+mn-cs"/>
              </a:rPr>
              <a:t>.  </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1478650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4</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7/2023</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82" b="0" i="0" u="none" strike="noStrike" kern="1200" baseline="0" dirty="0">
                <a:solidFill>
                  <a:schemeClr val="tx1"/>
                </a:solidFill>
                <a:latin typeface="+mn-lt"/>
                <a:ea typeface="+mn-ea"/>
                <a:cs typeface="+mn-cs"/>
              </a:rPr>
              <a:t>The Management Studio Properties sheet includes even more detailed information about each operator and about the overall query plan. </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3632941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82" b="0" i="0" kern="1200" baseline="0" dirty="0">
                <a:solidFill>
                  <a:schemeClr val="tx1"/>
                </a:solidFill>
                <a:effectLst/>
                <a:latin typeface="+mn-lt"/>
                <a:ea typeface="+mn-ea"/>
                <a:cs typeface="+mn-cs"/>
              </a:rPr>
              <a:t>SQL Server Management Studio provides the ability to view the live execution plan of an active query. This live query plan provides real-time insights into the query execution process as the controls flow from one </a:t>
            </a:r>
            <a:r>
              <a:rPr lang="en-US" sz="882" b="0" i="0" kern="1200" baseline="0" dirty="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rPr>
              <a:t>query plan operator</a:t>
            </a:r>
            <a:r>
              <a:rPr lang="en-US" sz="882" b="0" i="0" kern="1200" baseline="0" dirty="0">
                <a:solidFill>
                  <a:schemeClr val="tx1"/>
                </a:solidFill>
                <a:effectLst/>
                <a:latin typeface="+mn-lt"/>
                <a:ea typeface="+mn-ea"/>
                <a:cs typeface="+mn-cs"/>
              </a:rPr>
              <a:t> to another. The live query plan displays the overall query progress and operator-level run-time execution statistics such as the number of rows produced, elapsed time, operator progress, and so on. Because this data is available in real time without needing to wait for the query to complete, these execution statistics are extremely useful for debugging query performance issues. </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0" indent="0">
              <a:buFont typeface="Arial" panose="020B0604020202020204" pitchFamily="34" charset="0"/>
              <a:buNone/>
            </a:pPr>
            <a:r>
              <a:rPr lang="en-US" sz="882" b="0" i="0" kern="1200" baseline="0" dirty="0">
                <a:solidFill>
                  <a:schemeClr val="tx1"/>
                </a:solidFill>
                <a:effectLst/>
                <a:latin typeface="+mn-lt"/>
                <a:ea typeface="+mn-ea"/>
                <a:cs typeface="+mn-cs"/>
              </a:rPr>
              <a:t>This feature is available beginning with SQL Server 2016 (13.x) Management Studio, however it can work with SQL Server 2014 (12.x).</a:t>
            </a:r>
            <a:endParaRPr lang="es-MX" dirty="0"/>
          </a:p>
          <a:p>
            <a:pPr marL="0" indent="0">
              <a:buFont typeface="Arial" panose="020B0604020202020204" pitchFamily="34" charset="0"/>
              <a:buNone/>
            </a:pPr>
            <a:endParaRPr lang="es-MX" dirty="0"/>
          </a:p>
          <a:p>
            <a:pPr marL="0" indent="0">
              <a:buFont typeface="Arial" panose="020B0604020202020204" pitchFamily="34" charset="0"/>
              <a:buNone/>
            </a:pPr>
            <a:r>
              <a:rPr lang="en-US" sz="882" b="0" i="0" kern="1200" baseline="0" dirty="0">
                <a:solidFill>
                  <a:schemeClr val="tx1"/>
                </a:solidFill>
                <a:effectLst/>
                <a:latin typeface="+mn-lt"/>
                <a:ea typeface="+mn-ea"/>
                <a:cs typeface="+mn-cs"/>
              </a:rPr>
              <a:t>Internally, live query statistics leverages the sys.dm_exec_query_profiles DMV.</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r>
              <a:rPr lang="en-US" dirty="0"/>
              <a:t>To view live query statistics for one query, on the tools menu click the </a:t>
            </a:r>
            <a:r>
              <a:rPr lang="en-US" b="1" dirty="0"/>
              <a:t>Include Live Query Statistics</a:t>
            </a:r>
            <a:r>
              <a:rPr lang="en-US" dirty="0"/>
              <a:t> icon. The live execution plan can also be accessed from the </a:t>
            </a:r>
            <a:r>
              <a:rPr lang="en-US" b="1" dirty="0"/>
              <a:t>Activity Monitor</a:t>
            </a:r>
            <a:r>
              <a:rPr lang="en-US" b="0" dirty="0"/>
              <a:t>.</a:t>
            </a:r>
            <a:r>
              <a:rPr lang="en-US" dirty="0"/>
              <a:t> </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0" indent="0">
              <a:buFont typeface="Arial" panose="020B0604020202020204" pitchFamily="34" charset="0"/>
              <a:buNone/>
            </a:pPr>
            <a:r>
              <a:rPr lang="en-US" dirty="0"/>
              <a:t>For further information refer to:</a:t>
            </a:r>
          </a:p>
          <a:p>
            <a:pPr marL="0" indent="0">
              <a:buFont typeface="Arial" panose="020B0604020202020204" pitchFamily="34" charset="0"/>
              <a:buNone/>
            </a:pPr>
            <a:r>
              <a:rPr lang="en-US" dirty="0">
                <a:hlinkClick r:id="rId4"/>
              </a:rPr>
              <a:t>https://docs.microsoft.com/en-us/sql/relational-databases/performance/live-query-statistics</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dirty="0"/>
          </a:p>
        </p:txBody>
      </p:sp>
    </p:spTree>
    <p:extLst>
      <p:ext uri="{BB962C8B-B14F-4D97-AF65-F5344CB8AC3E}">
        <p14:creationId xmlns:p14="http://schemas.microsoft.com/office/powerpoint/2010/main" val="21524236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For further information refer to:</a:t>
            </a:r>
          </a:p>
          <a:p>
            <a:pPr marL="171450" indent="-171450">
              <a:buFont typeface="Arial" panose="020B0604020202020204" pitchFamily="34" charset="0"/>
              <a:buChar char="•"/>
            </a:pPr>
            <a:r>
              <a:rPr lang="en-US" i="1" noProof="0" dirty="0"/>
              <a:t>https://docs.microsoft.com/en-us/sql/relational-databases/showplan-logical-and-physical-operators-reference</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dirty="0"/>
          </a:p>
        </p:txBody>
      </p:sp>
    </p:spTree>
    <p:extLst>
      <p:ext uri="{BB962C8B-B14F-4D97-AF65-F5344CB8AC3E}">
        <p14:creationId xmlns:p14="http://schemas.microsoft.com/office/powerpoint/2010/main" val="8920316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dirty="0"/>
          </a:p>
        </p:txBody>
      </p:sp>
    </p:spTree>
    <p:extLst>
      <p:ext uri="{BB962C8B-B14F-4D97-AF65-F5344CB8AC3E}">
        <p14:creationId xmlns:p14="http://schemas.microsoft.com/office/powerpoint/2010/main" val="12534240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171450" lvl="0" indent="-171450" defTabSz="914460">
              <a:lnSpc>
                <a:spcPct val="90000"/>
              </a:lnSpc>
              <a:spcAft>
                <a:spcPts val="333"/>
              </a:spcAft>
              <a:buFontTx/>
              <a:buChar char="-"/>
            </a:pPr>
            <a:r>
              <a:rPr lang="en-US" sz="1800" dirty="0">
                <a:solidFill>
                  <a:srgbClr val="000000"/>
                </a:solidFill>
                <a:latin typeface="Consolas" panose="020B0609020204030204" pitchFamily="49" charset="0"/>
              </a:rPr>
              <a:t>M07L03Demo01</a:t>
            </a: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o the Lab VM</a:t>
            </a: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900" i="1" dirty="0">
                <a:solidFill>
                  <a:srgbClr val="000000"/>
                </a:solidFill>
                <a:latin typeface="Consolas" panose="020B0609020204030204" pitchFamily="49" charset="0"/>
              </a:rPr>
              <a:t>M07L03Demo01</a:t>
            </a:r>
            <a:r>
              <a:rPr lang="en-US" sz="882" i="1" noProof="0" dirty="0">
                <a:solidFill>
                  <a:prstClr val="black"/>
                </a:solidFill>
                <a:latin typeface="Segoe UI Light" pitchFamily="34" charset="0"/>
              </a:rPr>
              <a:t>\AnalyzingPlanOperators.sql</a:t>
            </a: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900" i="1" dirty="0">
                <a:solidFill>
                  <a:srgbClr val="000000"/>
                </a:solidFill>
                <a:latin typeface="Consolas" panose="020B0609020204030204" pitchFamily="49" charset="0"/>
              </a:rPr>
              <a:t>M07L03Demo01</a:t>
            </a:r>
            <a:r>
              <a:rPr lang="en-US" sz="882" i="1" noProof="0" dirty="0">
                <a:solidFill>
                  <a:prstClr val="black"/>
                </a:solidFill>
                <a:latin typeface="Segoe UI Light" pitchFamily="34" charset="0"/>
              </a:rPr>
              <a:t>\LiveQueryStatistics.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900" dirty="0">
                <a:solidFill>
                  <a:srgbClr val="000000"/>
                </a:solidFill>
                <a:latin typeface="Consolas" panose="020B0609020204030204" pitchFamily="49" charset="0"/>
              </a:rPr>
              <a:t>M07L03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AU" dirty="0"/>
              <a:t>Q1: What are the physical join operators?</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1: The three physical join operators are hash, merge, and loop.</a:t>
            </a:r>
          </a:p>
          <a:p>
            <a:pPr lvl="0"/>
            <a:endParaRPr lang="en-AU" dirty="0"/>
          </a:p>
          <a:p>
            <a:pPr lvl="0"/>
            <a:r>
              <a:rPr lang="en-AU" dirty="0"/>
              <a:t>Q2: What is a method to eliminate a lookup?</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2: A lookup can be eliminated with a nonclustered covering index.</a:t>
            </a:r>
          </a:p>
          <a:p>
            <a:pPr lvl="0"/>
            <a:endParaRPr lang="en-AU" dirty="0"/>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t>Q3:</a:t>
            </a:r>
            <a:r>
              <a:rPr lang="en-US" dirty="0"/>
              <a:t>Is it recommended to eliminate all lookups operators? </a:t>
            </a:r>
          </a:p>
          <a:p>
            <a:pPr lvl="0"/>
            <a:r>
              <a:rPr lang="en-AU" dirty="0"/>
              <a:t>A3: No, removing all lookup operators could cause that you create big non clustered indexes that can cause index maintenance to be non practical. You must remove lookup operators only when the performance gain will be really significant. </a:t>
            </a:r>
          </a:p>
          <a:p>
            <a:pPr lvl="0"/>
            <a:endParaRPr lang="en-AU" dirty="0"/>
          </a:p>
          <a:p>
            <a:pPr lvl="0"/>
            <a:r>
              <a:rPr lang="en-AU" dirty="0"/>
              <a:t>Q4: Under what circumstances would a table scan be more efficient than an index seek on a non-clustered, non-covering index?</a:t>
            </a:r>
            <a:endParaRPr lang="en-US" dirty="0"/>
          </a:p>
          <a:p>
            <a:pPr lvl="0"/>
            <a:r>
              <a:rPr lang="en-AU" dirty="0"/>
              <a:t>A4: </a:t>
            </a:r>
            <a:r>
              <a:rPr lang="en-US" dirty="0"/>
              <a:t>If the number of logical reads in a table scan is less than the number of logical reads for a seek and lookup for each row required by an operation.</a:t>
            </a:r>
          </a:p>
          <a:p>
            <a:pPr lvl="0"/>
            <a:endParaRPr lang="en-AU" dirty="0"/>
          </a:p>
          <a:p>
            <a:pPr lvl="0"/>
            <a:r>
              <a:rPr lang="en-AU" dirty="0"/>
              <a:t>Q5: </a:t>
            </a:r>
            <a:r>
              <a:rPr lang="en-US" dirty="0"/>
              <a:t>Is a Clustered Index Scan more efficient than a Table Scan? </a:t>
            </a:r>
          </a:p>
          <a:p>
            <a:r>
              <a:rPr lang="en-US" dirty="0"/>
              <a:t>A5: No, even when the plan “uses” an index, the Clustered Index is just the table ordered so it is as bad as a table scan. Consider that the Clustered Index is bigger than the HEAP so scanning the clustered index can cause more IO than scanning the HEAP.</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dirty="0"/>
          </a:p>
        </p:txBody>
      </p:sp>
    </p:spTree>
    <p:extLst>
      <p:ext uri="{BB962C8B-B14F-4D97-AF65-F5344CB8AC3E}">
        <p14:creationId xmlns:p14="http://schemas.microsoft.com/office/powerpoint/2010/main" val="22898940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6819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dirty="0"/>
          </a:p>
        </p:txBody>
      </p:sp>
    </p:spTree>
    <p:extLst>
      <p:ext uri="{BB962C8B-B14F-4D97-AF65-F5344CB8AC3E}">
        <p14:creationId xmlns:p14="http://schemas.microsoft.com/office/powerpoint/2010/main" val="779126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EA191-6936-4106-86B0-744F7F9163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8270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Understanding Adaptive joins</a:t>
            </a:r>
          </a:p>
          <a:p>
            <a:r>
              <a:rPr lang="en-US" sz="882" b="0" i="0" kern="1200" baseline="0" dirty="0">
                <a:solidFill>
                  <a:schemeClr val="tx1"/>
                </a:solidFill>
                <a:effectLst/>
                <a:latin typeface="+mn-lt"/>
                <a:ea typeface="+mn-ea"/>
                <a:cs typeface="+mn-cs"/>
              </a:rPr>
              <a:t>Batch mode Adaptive Joins enable the choice of a Hash Join or Nested Loops join method to be deferred until after the first input has been scanned. The Adaptive Join operator defines a threshold that is used to decide when to switch to a Nested Loops plan. A query plan can therefore dynamically switch to a better join strategy during execution without having to be recompiled.</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Tip: </a:t>
            </a:r>
            <a:r>
              <a:rPr lang="en-US" sz="882" b="0" i="0" kern="1200" baseline="0" dirty="0">
                <a:solidFill>
                  <a:schemeClr val="tx1"/>
                </a:solidFill>
                <a:effectLst/>
                <a:latin typeface="+mn-lt"/>
                <a:ea typeface="+mn-ea"/>
                <a:cs typeface="+mn-cs"/>
              </a:rPr>
              <a:t>Workloads with frequent oscillations between small and large join input scans will benefit most from this feature.</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he runtime decision is based on the following step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If the row count of the build join input is small enough that a Nested Loops join would be more optimal than a Hash join, the plan switches to a Nested Loops algorithm.</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If the build join input exceeds a specific row count threshold, no switch occurs and your plan continues with a Hash join.</a:t>
            </a:r>
          </a:p>
          <a:p>
            <a:endParaRPr lang="en-US" dirty="0"/>
          </a:p>
          <a:p>
            <a:r>
              <a:rPr lang="en-US" sz="882" b="1" i="0" kern="1200" baseline="0" dirty="0">
                <a:solidFill>
                  <a:schemeClr val="tx1"/>
                </a:solidFill>
                <a:effectLst/>
                <a:latin typeface="+mn-lt"/>
                <a:ea typeface="+mn-ea"/>
                <a:cs typeface="+mn-cs"/>
              </a:rPr>
              <a:t>Adaptive Join remarks</a:t>
            </a:r>
          </a:p>
          <a:p>
            <a:r>
              <a:rPr lang="en-US" sz="882" b="0" i="0" kern="1200" baseline="0" dirty="0">
                <a:solidFill>
                  <a:schemeClr val="tx1"/>
                </a:solidFill>
                <a:effectLst/>
                <a:latin typeface="+mn-lt"/>
                <a:ea typeface="+mn-ea"/>
                <a:cs typeface="+mn-cs"/>
              </a:rPr>
              <a:t>Adaptive joins introduce a higher memory requirement than an indexed Nested Loops Join equivalent plan. The additional memory is requested as if the Nested Loops was a Hash join. There is also overhead for the build phase as a stop-and-go operation versus a Nested Loops streaming equivalent join. With that additional cost comes flexibility for scenarios where row counts may fluctuate in the build input.</a:t>
            </a:r>
          </a:p>
          <a:p>
            <a:r>
              <a:rPr lang="en-US" sz="882" b="0" i="0" kern="1200" baseline="0" dirty="0">
                <a:solidFill>
                  <a:schemeClr val="tx1"/>
                </a:solidFill>
                <a:effectLst/>
                <a:latin typeface="+mn-lt"/>
                <a:ea typeface="+mn-ea"/>
                <a:cs typeface="+mn-cs"/>
              </a:rPr>
              <a:t>Batch mode Adaptive joins work for the initial execution of a statement, and once compiled, consecutive executions will remain adaptive based on the compiled Adaptive Join threshold and the runtime rows flowing through the build phase of the outer input.</a:t>
            </a:r>
          </a:p>
          <a:p>
            <a:r>
              <a:rPr lang="en-US" sz="882" b="0" i="0" kern="1200" baseline="0" dirty="0">
                <a:solidFill>
                  <a:schemeClr val="tx1"/>
                </a:solidFill>
                <a:effectLst/>
                <a:latin typeface="+mn-lt"/>
                <a:ea typeface="+mn-ea"/>
                <a:cs typeface="+mn-cs"/>
              </a:rPr>
              <a:t>If an Adaptive Join switches to a Nested Loops operation, it uses the rows already read by the Hash Join build. The operator does </a:t>
            </a:r>
            <a:r>
              <a:rPr lang="en-US" sz="882" b="1" i="0" kern="1200" baseline="0" dirty="0">
                <a:solidFill>
                  <a:schemeClr val="tx1"/>
                </a:solidFill>
                <a:effectLst/>
                <a:latin typeface="+mn-lt"/>
                <a:ea typeface="+mn-ea"/>
                <a:cs typeface="+mn-cs"/>
              </a:rPr>
              <a:t>not</a:t>
            </a:r>
            <a:r>
              <a:rPr lang="en-US" sz="882" b="0" i="0" kern="1200" baseline="0" dirty="0">
                <a:solidFill>
                  <a:schemeClr val="tx1"/>
                </a:solidFill>
                <a:effectLst/>
                <a:latin typeface="+mn-lt"/>
                <a:ea typeface="+mn-ea"/>
                <a:cs typeface="+mn-cs"/>
              </a:rPr>
              <a:t> re-read the outer reference rows again.</a:t>
            </a:r>
          </a:p>
          <a:p>
            <a:endParaRPr lang="en-US" dirty="0"/>
          </a:p>
          <a:p>
            <a:r>
              <a:rPr lang="en-US" sz="882" b="1" i="0" kern="1200" baseline="0" dirty="0">
                <a:solidFill>
                  <a:schemeClr val="tx1"/>
                </a:solidFill>
                <a:effectLst/>
                <a:latin typeface="+mn-lt"/>
                <a:ea typeface="+mn-ea"/>
                <a:cs typeface="+mn-cs"/>
              </a:rPr>
              <a:t>Adaptive join eligible statements</a:t>
            </a:r>
          </a:p>
          <a:p>
            <a:r>
              <a:rPr lang="en-US" sz="882" b="0" i="0" kern="1200" baseline="0" dirty="0">
                <a:solidFill>
                  <a:schemeClr val="tx1"/>
                </a:solidFill>
                <a:effectLst/>
                <a:latin typeface="+mn-lt"/>
                <a:ea typeface="+mn-ea"/>
                <a:cs typeface="+mn-cs"/>
              </a:rPr>
              <a:t>A few conditions make a logical join eligible for a batch mode Adaptive Joi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he database compatibility level is 140 or higher.</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he query is a SELECT statement (data modification statements are currently ineligibl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he join is eligible to be executed both by an indexed Nested Loops join or a Hash join physical algorithm.</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he Hash join uses </a:t>
            </a:r>
            <a:r>
              <a:rPr lang="en-US" sz="882" b="0" i="0" u="none" strike="noStrike" kern="1200" baseline="0" dirty="0">
                <a:solidFill>
                  <a:schemeClr val="tx1"/>
                </a:solidFill>
                <a:effectLst/>
                <a:latin typeface="+mn-lt"/>
                <a:ea typeface="+mn-ea"/>
                <a:cs typeface="+mn-cs"/>
                <a:hlinkClick r:id="rId3"/>
              </a:rPr>
              <a:t>Batch mode</a:t>
            </a:r>
            <a:r>
              <a:rPr lang="en-US" sz="882" b="0" i="0" kern="1200" baseline="0" dirty="0">
                <a:solidFill>
                  <a:schemeClr val="tx1"/>
                </a:solidFill>
                <a:effectLst/>
                <a:latin typeface="+mn-lt"/>
                <a:ea typeface="+mn-ea"/>
                <a:cs typeface="+mn-cs"/>
              </a:rPr>
              <a:t> - either through the presence of a ColumnStore index in the query overall or a ColumnStore indexed table being referenced directly by the joi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he generated alternative solutions of the Nested Loops join and Hash join should have the same first child (outer reference).</a:t>
            </a:r>
          </a:p>
          <a:p>
            <a:endParaRPr lang="en-US" dirty="0"/>
          </a:p>
          <a:p>
            <a:r>
              <a:rPr lang="en-US" dirty="0"/>
              <a:t>For further information refer to:</a:t>
            </a:r>
          </a:p>
          <a:p>
            <a:pPr marL="171450" indent="-171450">
              <a:buFont typeface="Arial" panose="020B0604020202020204" pitchFamily="34" charset="0"/>
              <a:buChar char="•"/>
            </a:pPr>
            <a:r>
              <a:rPr lang="en-US" dirty="0">
                <a:hlinkClick r:id="rId4"/>
              </a:rPr>
              <a:t>https://docs.microsoft.com/en-us/sql/relational-databases/performance/joins#adaptive</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25361610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dirty="0"/>
          </a:p>
        </p:txBody>
      </p:sp>
    </p:spTree>
    <p:extLst>
      <p:ext uri="{BB962C8B-B14F-4D97-AF65-F5344CB8AC3E}">
        <p14:creationId xmlns:p14="http://schemas.microsoft.com/office/powerpoint/2010/main" val="37283444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MSTVFs have a fixed cardinality guess of 100 starting with SQL Server 2014 (12.x), and 1 for earlier SQL Server versions. Interleaved execution helps workload performance issues that are due to these fixed cardinality estimates associated with MSTVFs. </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ith interleaved execution, the actual row counts from the function are used to make better-informed downstream query plan decisions. For more information on multi-statement table-valued functions (MSTVFs), see </a:t>
            </a:r>
            <a:r>
              <a:rPr lang="en-US" sz="882" b="0" i="0" u="sng" kern="1200" baseline="0" dirty="0">
                <a:solidFill>
                  <a:schemeClr val="tx1"/>
                </a:solidFill>
                <a:effectLst/>
                <a:latin typeface="+mn-lt"/>
                <a:ea typeface="+mn-ea"/>
                <a:cs typeface="+mn-cs"/>
                <a:hlinkClick r:id="rId3"/>
              </a:rPr>
              <a:t>Table-valued functions</a:t>
            </a:r>
            <a:r>
              <a:rPr lang="en-US" sz="882" b="0" i="0" kern="1200" baseline="0" dirty="0">
                <a:solidFill>
                  <a:schemeClr val="tx1"/>
                </a:solidFill>
                <a:effectLst/>
                <a:latin typeface="+mn-lt"/>
                <a:ea typeface="+mn-ea"/>
                <a:cs typeface="+mn-cs"/>
              </a:rPr>
              <a:t>.</a:t>
            </a:r>
          </a:p>
          <a:p>
            <a:r>
              <a:rPr lang="en-US" sz="882" b="0" i="0" kern="1200" baseline="0" dirty="0">
                <a:solidFill>
                  <a:schemeClr val="tx1"/>
                </a:solidFill>
                <a:effectLst/>
                <a:latin typeface="+mn-lt"/>
                <a:ea typeface="+mn-ea"/>
                <a:cs typeface="+mn-cs"/>
              </a:rPr>
              <a:t>Interleaved execution changes the unidirectional boundary between the optimization and execution phases for a single-query execution and enables plans to adapt based on the revised cardinality estimates. During optimization if we encounter a candidate for interleaved execution, which is currently </a:t>
            </a:r>
            <a:r>
              <a:rPr lang="en-US" sz="882" b="1" i="0" kern="1200" baseline="0" dirty="0">
                <a:solidFill>
                  <a:schemeClr val="tx1"/>
                </a:solidFill>
                <a:effectLst/>
                <a:latin typeface="+mn-lt"/>
                <a:ea typeface="+mn-ea"/>
                <a:cs typeface="+mn-cs"/>
              </a:rPr>
              <a:t>multi-statement table-valued functions (MSTVFs)</a:t>
            </a:r>
            <a:r>
              <a:rPr lang="en-US" sz="882" b="0" i="0" kern="1200" baseline="0" dirty="0">
                <a:solidFill>
                  <a:schemeClr val="tx1"/>
                </a:solidFill>
                <a:effectLst/>
                <a:latin typeface="+mn-lt"/>
                <a:ea typeface="+mn-ea"/>
                <a:cs typeface="+mn-cs"/>
              </a:rPr>
              <a:t>, we will pause optimization, execute the applicable subtree, capture accurate cardinality estimates, and then resume optimization for downstream operations.</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MSTVF referencing statements in interleaved execution must currently be read-only and not part of a data modification operation. Also, MSTVFs are not eligible for interleaved execution if they do not use runtime constant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leaved execution eligible statements</a:t>
            </a:r>
          </a:p>
          <a:p>
            <a:r>
              <a:rPr lang="en-US" sz="882" b="0" i="0" kern="1200" baseline="0" dirty="0">
                <a:solidFill>
                  <a:schemeClr val="tx1"/>
                </a:solidFill>
                <a:effectLst/>
                <a:latin typeface="+mn-lt"/>
                <a:ea typeface="+mn-ea"/>
                <a:cs typeface="+mn-cs"/>
              </a:rPr>
              <a:t>MSTVF referencing statements in interleaved execution must currently be read-only and not part of a data modification operation. Also, MSTVFs are not eligible for interleaved execution if they do not use runtime constant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leaved execution benefits</a:t>
            </a:r>
          </a:p>
          <a:p>
            <a:r>
              <a:rPr lang="en-US" sz="882" b="0" i="0" kern="1200" baseline="0" dirty="0">
                <a:solidFill>
                  <a:schemeClr val="tx1"/>
                </a:solidFill>
                <a:effectLst/>
                <a:latin typeface="+mn-lt"/>
                <a:ea typeface="+mn-ea"/>
                <a:cs typeface="+mn-cs"/>
              </a:rPr>
              <a:t>In general, the higher the skew between the estimated vs. actual number of rows, coupled with the number of downstream plan operations, the greater the performance impact. In general, interleaved execution benefits queries where:</a:t>
            </a:r>
          </a:p>
          <a:p>
            <a:r>
              <a:rPr lang="en-US" sz="882" b="0" i="0" kern="1200" baseline="0" dirty="0">
                <a:solidFill>
                  <a:schemeClr val="tx1"/>
                </a:solidFill>
                <a:effectLst/>
                <a:latin typeface="+mn-lt"/>
                <a:ea typeface="+mn-ea"/>
                <a:cs typeface="+mn-cs"/>
              </a:rPr>
              <a:t>There is a large skew between the estimated vs. actual number of rows for the intermediate result set (in this case, the MSTVF).</a:t>
            </a:r>
          </a:p>
          <a:p>
            <a:r>
              <a:rPr lang="en-US" sz="882" b="0" i="0" kern="1200" baseline="0" dirty="0">
                <a:solidFill>
                  <a:schemeClr val="tx1"/>
                </a:solidFill>
                <a:effectLst/>
                <a:latin typeface="+mn-lt"/>
                <a:ea typeface="+mn-ea"/>
                <a:cs typeface="+mn-cs"/>
              </a:rPr>
              <a:t>And the overall query is sensitive to a change in the size of the intermediate result. This typically happens when there is a complex tree above that subtree in the query plan. A simple SELECT * from an MSTVF will not benefit from interleaved execution.</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leaved execution overhead</a:t>
            </a:r>
          </a:p>
          <a:p>
            <a:r>
              <a:rPr lang="en-US" sz="882" b="0" i="0" kern="1200" baseline="0" dirty="0">
                <a:solidFill>
                  <a:schemeClr val="tx1"/>
                </a:solidFill>
                <a:effectLst/>
                <a:latin typeface="+mn-lt"/>
                <a:ea typeface="+mn-ea"/>
                <a:cs typeface="+mn-cs"/>
              </a:rPr>
              <a:t>The overhead should be minimal-to-none.</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leaved execution and consecutive executions</a:t>
            </a:r>
          </a:p>
          <a:p>
            <a:r>
              <a:rPr lang="en-US" sz="882" b="0" i="0" kern="1200" baseline="0" dirty="0">
                <a:solidFill>
                  <a:schemeClr val="tx1"/>
                </a:solidFill>
                <a:effectLst/>
                <a:latin typeface="+mn-lt"/>
                <a:ea typeface="+mn-ea"/>
                <a:cs typeface="+mn-cs"/>
              </a:rPr>
              <a:t>Once an interleaved execution plan is cached, the plan with the revised estimates on the first execution is used for consecutive executions without re-instantiating interleaved execution.</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4"/>
              </a:rPr>
              <a:t>https://docs.microsoft.com/en-us/sql/relational-databases/performance/intelligent-query-processing#interleaved-execution-for-mstvfs</a:t>
            </a:r>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dirty="0"/>
          </a:p>
        </p:txBody>
      </p:sp>
    </p:spTree>
    <p:extLst>
      <p:ext uri="{BB962C8B-B14F-4D97-AF65-F5344CB8AC3E}">
        <p14:creationId xmlns:p14="http://schemas.microsoft.com/office/powerpoint/2010/main" val="56696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dirty="0"/>
          </a:p>
        </p:txBody>
      </p:sp>
    </p:spTree>
    <p:extLst>
      <p:ext uri="{BB962C8B-B14F-4D97-AF65-F5344CB8AC3E}">
        <p14:creationId xmlns:p14="http://schemas.microsoft.com/office/powerpoint/2010/main" val="41003698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A query's post-execution plan in SQL Server includes the minimum required memory needed for execution and the ideal memory grant size to have all rows fit in memory. Performance suffers when memory grant sizes are incorrectly sized. Excessive grants result in wasted memory and reduced concurrency. Insufficient memory grants cause expensive spills to disk. By addressing repeating workloads, batch mode memory grant feedback recalculates the actual memory required for a query and then updates the grant value for the cached plan. When an identical query statement is executed, the query uses the revised memory grant size, reducing excessive memory grants that impact concurrency and fixing underestimated memory grants that cause expensive spills to disk. </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performance/intelligent-query-processing#batch-mode-memory-grant-feedback</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dirty="0"/>
          </a:p>
        </p:txBody>
      </p:sp>
    </p:spTree>
    <p:extLst>
      <p:ext uri="{BB962C8B-B14F-4D97-AF65-F5344CB8AC3E}">
        <p14:creationId xmlns:p14="http://schemas.microsoft.com/office/powerpoint/2010/main" val="15006037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dirty="0"/>
          </a:p>
        </p:txBody>
      </p:sp>
    </p:spTree>
    <p:extLst>
      <p:ext uri="{BB962C8B-B14F-4D97-AF65-F5344CB8AC3E}">
        <p14:creationId xmlns:p14="http://schemas.microsoft.com/office/powerpoint/2010/main" val="10972926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Introduced in SQL Server 2019</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Row mode memory grant feedback expands on the batch mode memory grant feedback feature by adjusting memory grant sizes for both batch and row mode operators.</a:t>
            </a:r>
          </a:p>
          <a:p>
            <a:r>
              <a:rPr lang="en-US" sz="882" b="0" i="0" kern="1200" baseline="0" dirty="0">
                <a:solidFill>
                  <a:schemeClr val="tx1"/>
                </a:solidFill>
                <a:effectLst/>
                <a:latin typeface="+mn-lt"/>
                <a:ea typeface="+mn-ea"/>
                <a:cs typeface="+mn-cs"/>
              </a:rPr>
              <a:t>To enable row mode memory grant feedback in Azure SQL Database, enable database compatibility level 150 for the database you are connected to when executing the query.</a:t>
            </a:r>
          </a:p>
          <a:p>
            <a:r>
              <a:rPr lang="en-US" sz="882" b="0" i="0" kern="1200" baseline="0" dirty="0">
                <a:solidFill>
                  <a:schemeClr val="tx1"/>
                </a:solidFill>
                <a:effectLst/>
                <a:latin typeface="+mn-lt"/>
                <a:ea typeface="+mn-ea"/>
                <a:cs typeface="+mn-cs"/>
              </a:rPr>
              <a:t>Row mode memory grant feedback activity will be visible via the </a:t>
            </a:r>
            <a:r>
              <a:rPr lang="en-US" sz="882" b="1" i="0" kern="1200" baseline="0" dirty="0">
                <a:solidFill>
                  <a:schemeClr val="tx1"/>
                </a:solidFill>
                <a:effectLst/>
                <a:latin typeface="+mn-lt"/>
                <a:ea typeface="+mn-ea"/>
                <a:cs typeface="+mn-cs"/>
              </a:rPr>
              <a:t>memory_grant_updated_by_feedback</a:t>
            </a:r>
            <a:r>
              <a:rPr lang="en-US" sz="882" b="0" i="0" kern="1200" baseline="0" dirty="0">
                <a:solidFill>
                  <a:schemeClr val="tx1"/>
                </a:solidFill>
                <a:effectLst/>
                <a:latin typeface="+mn-lt"/>
                <a:ea typeface="+mn-ea"/>
                <a:cs typeface="+mn-cs"/>
              </a:rPr>
              <a:t> XEvent.</a:t>
            </a:r>
          </a:p>
          <a:p>
            <a:r>
              <a:rPr lang="en-US" sz="882" b="0" i="0" kern="1200" baseline="0" dirty="0">
                <a:solidFill>
                  <a:schemeClr val="tx1"/>
                </a:solidFill>
                <a:effectLst/>
                <a:latin typeface="+mn-lt"/>
                <a:ea typeface="+mn-ea"/>
                <a:cs typeface="+mn-cs"/>
              </a:rPr>
              <a:t>Starting with row mode memory grant feedback, two new query plan attributes will be shown for actual post-execution plans: </a:t>
            </a:r>
            <a:r>
              <a:rPr lang="en-US" sz="882" b="1" i="1" kern="1200" baseline="0" dirty="0">
                <a:solidFill>
                  <a:schemeClr val="tx1"/>
                </a:solidFill>
                <a:effectLst/>
                <a:latin typeface="+mn-lt"/>
                <a:ea typeface="+mn-ea"/>
                <a:cs typeface="+mn-cs"/>
              </a:rPr>
              <a:t>IsMemoryGrantFeedbackAdjusted</a:t>
            </a:r>
            <a:r>
              <a:rPr lang="en-US" sz="882" b="0" i="0" kern="1200" baseline="0" dirty="0">
                <a:solidFill>
                  <a:schemeClr val="tx1"/>
                </a:solidFill>
                <a:effectLst/>
                <a:latin typeface="+mn-lt"/>
                <a:ea typeface="+mn-ea"/>
                <a:cs typeface="+mn-cs"/>
              </a:rPr>
              <a:t> and </a:t>
            </a:r>
            <a:r>
              <a:rPr lang="en-US" sz="882" b="1" i="1" kern="1200" baseline="0" dirty="0">
                <a:solidFill>
                  <a:schemeClr val="tx1"/>
                </a:solidFill>
                <a:effectLst/>
                <a:latin typeface="+mn-lt"/>
                <a:ea typeface="+mn-ea"/>
                <a:cs typeface="+mn-cs"/>
              </a:rPr>
              <a:t>LastRequestedMemory</a:t>
            </a:r>
            <a:r>
              <a:rPr lang="en-US" sz="882" b="0" i="0" kern="1200" baseline="0" dirty="0">
                <a:solidFill>
                  <a:schemeClr val="tx1"/>
                </a:solidFill>
                <a:effectLst/>
                <a:latin typeface="+mn-lt"/>
                <a:ea typeface="+mn-ea"/>
                <a:cs typeface="+mn-cs"/>
              </a:rPr>
              <a:t>, which are added to the </a:t>
            </a:r>
            <a:r>
              <a:rPr lang="en-US" sz="882" b="0" i="1" kern="1200" baseline="0" dirty="0">
                <a:solidFill>
                  <a:schemeClr val="tx1"/>
                </a:solidFill>
                <a:effectLst/>
                <a:latin typeface="+mn-lt"/>
                <a:ea typeface="+mn-ea"/>
                <a:cs typeface="+mn-cs"/>
              </a:rPr>
              <a:t>MemoryGrantInfo</a:t>
            </a:r>
            <a:r>
              <a:rPr lang="en-US" sz="882" b="0" i="0" kern="1200" baseline="0" dirty="0">
                <a:solidFill>
                  <a:schemeClr val="tx1"/>
                </a:solidFill>
                <a:effectLst/>
                <a:latin typeface="+mn-lt"/>
                <a:ea typeface="+mn-ea"/>
                <a:cs typeface="+mn-cs"/>
              </a:rPr>
              <a:t> query plan XML element.</a:t>
            </a:r>
          </a:p>
          <a:p>
            <a:endParaRPr lang="en-US" sz="882" b="0" i="1" kern="1200" baseline="0" dirty="0">
              <a:solidFill>
                <a:schemeClr val="tx1"/>
              </a:solidFill>
              <a:effectLst/>
              <a:latin typeface="+mn-lt"/>
              <a:ea typeface="+mn-ea"/>
              <a:cs typeface="+mn-cs"/>
            </a:endParaRPr>
          </a:p>
          <a:p>
            <a:r>
              <a:rPr lang="en-US" sz="882" b="0" i="1" kern="1200" baseline="0" dirty="0">
                <a:solidFill>
                  <a:schemeClr val="tx1"/>
                </a:solidFill>
                <a:effectLst/>
                <a:latin typeface="+mn-lt"/>
                <a:ea typeface="+mn-ea"/>
                <a:cs typeface="+mn-cs"/>
              </a:rPr>
              <a:t>LastRequestedMemory</a:t>
            </a:r>
            <a:r>
              <a:rPr lang="en-US" sz="882" b="0" i="0" kern="1200" baseline="0" dirty="0">
                <a:solidFill>
                  <a:schemeClr val="tx1"/>
                </a:solidFill>
                <a:effectLst/>
                <a:latin typeface="+mn-lt"/>
                <a:ea typeface="+mn-ea"/>
                <a:cs typeface="+mn-cs"/>
              </a:rPr>
              <a:t> shows the granted memory in Kilobytes (KB) from the prior query execution. </a:t>
            </a:r>
            <a:r>
              <a:rPr lang="en-US" sz="882" b="0" i="1" kern="1200" baseline="0" dirty="0">
                <a:solidFill>
                  <a:schemeClr val="tx1"/>
                </a:solidFill>
                <a:effectLst/>
                <a:latin typeface="+mn-lt"/>
                <a:ea typeface="+mn-ea"/>
                <a:cs typeface="+mn-cs"/>
              </a:rPr>
              <a:t>IsMemoryGrantFeedbackAdjusted</a:t>
            </a:r>
            <a:r>
              <a:rPr lang="en-US" sz="882" b="0" i="0" kern="1200" baseline="0" dirty="0">
                <a:solidFill>
                  <a:schemeClr val="tx1"/>
                </a:solidFill>
                <a:effectLst/>
                <a:latin typeface="+mn-lt"/>
                <a:ea typeface="+mn-ea"/>
                <a:cs typeface="+mn-cs"/>
              </a:rPr>
              <a:t> attribute allows you to check the state of memory grant feedback for the statement within an actual query execution plan.</a:t>
            </a:r>
          </a:p>
          <a:p>
            <a:endParaRPr lang="en-US" sz="882" b="0" i="0" kern="1200" baseline="0" dirty="0">
              <a:solidFill>
                <a:schemeClr val="tx1"/>
              </a:solidFill>
              <a:effectLst/>
              <a:latin typeface="+mn-lt"/>
              <a:ea typeface="+mn-ea"/>
              <a:cs typeface="+mn-cs"/>
            </a:endParaRPr>
          </a:p>
          <a:p>
            <a:r>
              <a:rPr lang="en-US" dirty="0"/>
              <a:t>For further information refer to:</a:t>
            </a:r>
          </a:p>
          <a:p>
            <a:pPr marL="171450" indent="-171450">
              <a:buFont typeface="Arial" panose="020B0604020202020204" pitchFamily="34" charset="0"/>
              <a:buChar char="•"/>
            </a:pPr>
            <a:r>
              <a:rPr lang="en-US" dirty="0">
                <a:hlinkClick r:id="rId3"/>
              </a:rPr>
              <a:t>https://docs.microsoft.com/en-us/sql/relational-databases/performance/intelligent-query-processing#row-mode-memory-grant-feedback</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6</a:t>
            </a:fld>
            <a:endParaRPr lang="en-US" noProof="0" dirty="0"/>
          </a:p>
        </p:txBody>
      </p:sp>
    </p:spTree>
    <p:extLst>
      <p:ext uri="{BB962C8B-B14F-4D97-AF65-F5344CB8AC3E}">
        <p14:creationId xmlns:p14="http://schemas.microsoft.com/office/powerpoint/2010/main" val="8674017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Table variable deferred compilation</a:t>
            </a:r>
            <a:r>
              <a:rPr lang="en-US" sz="882" b="0" i="0" kern="1200" baseline="0" dirty="0">
                <a:solidFill>
                  <a:schemeClr val="tx1"/>
                </a:solidFill>
                <a:effectLst/>
                <a:latin typeface="+mn-lt"/>
                <a:ea typeface="+mn-ea"/>
                <a:cs typeface="+mn-cs"/>
              </a:rPr>
              <a:t> improves plan quality and overall performance for queries referencing table variables. During optimization and initial plan compilation, this feature will propagate cardinality estimates that are based on actual table variable row counts. This exact row count information will then be used for optimizing downstream plan operations.</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ith table variable deferred compilation, compilation of a statement that references a table variable is deferred until the first actual execution of the statement. This deferred compilation behavior is identical to the behavior of temporary tables. This change results in the use of actual cardinality instead of the original one-row guess.</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o enable table variable deferred compilation, enable database compatibility level 150 for the database you're connected to when the query runs.</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able variable deferred compilation </a:t>
            </a:r>
            <a:r>
              <a:rPr lang="en-US" sz="882" b="1" i="0" kern="1200" baseline="0" dirty="0">
                <a:solidFill>
                  <a:schemeClr val="tx1"/>
                </a:solidFill>
                <a:effectLst/>
                <a:latin typeface="+mn-lt"/>
                <a:ea typeface="+mn-ea"/>
                <a:cs typeface="+mn-cs"/>
              </a:rPr>
              <a:t>doesn't</a:t>
            </a:r>
            <a:r>
              <a:rPr lang="en-US" sz="882" b="0" i="0" kern="1200" baseline="0" dirty="0">
                <a:solidFill>
                  <a:schemeClr val="tx1"/>
                </a:solidFill>
                <a:effectLst/>
                <a:latin typeface="+mn-lt"/>
                <a:ea typeface="+mn-ea"/>
                <a:cs typeface="+mn-cs"/>
              </a:rPr>
              <a:t> change any other characteristics of table variables. For example, this feature doesn't add column statistics to table variables.</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able variable deferred compilation </a:t>
            </a:r>
            <a:r>
              <a:rPr lang="en-US" sz="882" b="1" i="0" kern="1200" baseline="0" dirty="0">
                <a:solidFill>
                  <a:schemeClr val="tx1"/>
                </a:solidFill>
                <a:effectLst/>
                <a:latin typeface="+mn-lt"/>
                <a:ea typeface="+mn-ea"/>
                <a:cs typeface="+mn-cs"/>
              </a:rPr>
              <a:t>doesn't increase recompilation frequency</a:t>
            </a:r>
            <a:r>
              <a:rPr lang="en-US" sz="882" b="0" i="0" kern="1200" baseline="0" dirty="0">
                <a:solidFill>
                  <a:schemeClr val="tx1"/>
                </a:solidFill>
                <a:effectLst/>
                <a:latin typeface="+mn-lt"/>
                <a:ea typeface="+mn-ea"/>
                <a:cs typeface="+mn-cs"/>
              </a:rPr>
              <a:t>. Rather, it shifts where the initial compilation occurs. The resulting cached plan generates based on the initial deferred compilation table variable row count. </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he cached plan is reused by consecutive queries. It's reused until the plan is evicted or recompiled.</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able variable row count that is used for initial plan compilation represents a typical value might be different from a fixed row count guess. If it's different, downstream operations will benefit. Performance may not be improved by this feature if the table variable row count varies significantly across executions.</a:t>
            </a:r>
          </a:p>
          <a:p>
            <a:endParaRPr lang="en-US" dirty="0"/>
          </a:p>
          <a:p>
            <a:r>
              <a:rPr lang="en-US" dirty="0"/>
              <a:t>For further information refer to:</a:t>
            </a:r>
          </a:p>
          <a:p>
            <a:pPr marL="171450" indent="-171450">
              <a:buFont typeface="Arial" panose="020B0604020202020204" pitchFamily="34" charset="0"/>
              <a:buChar char="•"/>
            </a:pPr>
            <a:r>
              <a:rPr lang="en-US" dirty="0">
                <a:hlinkClick r:id="rId3"/>
              </a:rPr>
              <a:t>https://docs.microsoft.com/en-us/sql/relational-databases/performance/intelligent-query-processing#table-variable-deferred-compilation</a:t>
            </a:r>
            <a:endParaRPr lang="en-US" dirty="0"/>
          </a:p>
          <a:p>
            <a:pPr marL="171450" indent="-171450">
              <a:buFont typeface="Arial" panose="020B0604020202020204" pitchFamily="34" charset="0"/>
              <a:buChar char="•"/>
            </a:pP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dirty="0"/>
          </a:p>
        </p:txBody>
      </p:sp>
    </p:spTree>
    <p:extLst>
      <p:ext uri="{BB962C8B-B14F-4D97-AF65-F5344CB8AC3E}">
        <p14:creationId xmlns:p14="http://schemas.microsoft.com/office/powerpoint/2010/main" val="42203774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dirty="0"/>
          </a:p>
        </p:txBody>
      </p:sp>
    </p:spTree>
    <p:extLst>
      <p:ext uri="{BB962C8B-B14F-4D97-AF65-F5344CB8AC3E}">
        <p14:creationId xmlns:p14="http://schemas.microsoft.com/office/powerpoint/2010/main" val="3911785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Introduced in SQL Server 2019</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It aggregates across large datasets where responsiveness is more critical than absolute precision. An example is calculating a </a:t>
            </a:r>
            <a:r>
              <a:rPr lang="en-US" sz="882" b="1" i="0" kern="1200" baseline="0" dirty="0">
                <a:solidFill>
                  <a:schemeClr val="tx1"/>
                </a:solidFill>
                <a:effectLst/>
                <a:latin typeface="+mn-lt"/>
                <a:ea typeface="+mn-ea"/>
                <a:cs typeface="+mn-cs"/>
              </a:rPr>
              <a:t>COUNT(DISTINCT())</a:t>
            </a:r>
            <a:r>
              <a:rPr lang="en-US" sz="882" b="0" i="0" kern="1200" baseline="0" dirty="0">
                <a:solidFill>
                  <a:schemeClr val="tx1"/>
                </a:solidFill>
                <a:effectLst/>
                <a:latin typeface="+mn-lt"/>
                <a:ea typeface="+mn-ea"/>
                <a:cs typeface="+mn-cs"/>
              </a:rPr>
              <a:t> across 10 billion rows, for display on a dashboard. In this case, absolute precision isn't important, but responsiveness is critical. The new </a:t>
            </a:r>
            <a:r>
              <a:rPr lang="en-US" sz="882" b="1" i="0" kern="1200" baseline="0" dirty="0">
                <a:solidFill>
                  <a:schemeClr val="tx1"/>
                </a:solidFill>
                <a:effectLst/>
                <a:latin typeface="+mn-lt"/>
                <a:ea typeface="+mn-ea"/>
                <a:cs typeface="+mn-cs"/>
              </a:rPr>
              <a:t>APPROX_COUNT_DISTINCT</a:t>
            </a:r>
            <a:r>
              <a:rPr lang="en-US" sz="882" b="0" i="0" kern="1200" baseline="0" dirty="0">
                <a:solidFill>
                  <a:schemeClr val="tx1"/>
                </a:solidFill>
                <a:effectLst/>
                <a:latin typeface="+mn-lt"/>
                <a:ea typeface="+mn-ea"/>
                <a:cs typeface="+mn-cs"/>
              </a:rPr>
              <a:t> aggregate function returns the approximate number of unique non-null values in a group.</a:t>
            </a:r>
          </a:p>
          <a:p>
            <a:endParaRPr lang="en-US" sz="882" b="0" i="0" kern="1200" baseline="0" dirty="0">
              <a:solidFill>
                <a:schemeClr val="tx1"/>
              </a:solidFill>
              <a:effectLst/>
              <a:latin typeface="+mn-lt"/>
              <a:ea typeface="+mn-ea"/>
              <a:cs typeface="+mn-cs"/>
            </a:endParaRPr>
          </a:p>
          <a:p>
            <a:pPr marL="0" indent="0">
              <a:buNone/>
            </a:pPr>
            <a:r>
              <a:rPr lang="en-US" dirty="0"/>
              <a:t>Example scenario: </a:t>
            </a:r>
          </a:p>
          <a:p>
            <a:pPr marL="0" indent="0">
              <a:buNone/>
            </a:pPr>
            <a:r>
              <a:rPr lang="en-US" sz="900" dirty="0"/>
              <a:t>Calculating a </a:t>
            </a:r>
            <a:r>
              <a:rPr lang="en-US" sz="900" b="1" dirty="0"/>
              <a:t>COUNT(DISTINCT())</a:t>
            </a:r>
            <a:r>
              <a:rPr lang="en-US" sz="900" dirty="0"/>
              <a:t> across 10 billion rows, for display on a dashboard. If absolute precision isn't important, but responsiveness is critical, the function </a:t>
            </a:r>
            <a:r>
              <a:rPr lang="en-US" sz="900" b="1" dirty="0"/>
              <a:t>APPROX_COUNT_DISTINCT</a:t>
            </a:r>
            <a:r>
              <a:rPr lang="en-US" sz="900" dirty="0"/>
              <a:t> can be a better option in this scenario.</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https://docs.microsoft.com/en-us/sql/relational-databases/performance/intelligent-query-processing#approximate-query-processing</a:t>
            </a:r>
          </a:p>
          <a:p>
            <a:pPr marL="171450" indent="-171450">
              <a:buFont typeface="Arial" panose="020B0604020202020204" pitchFamily="34" charset="0"/>
              <a:buChar char="•"/>
            </a:pPr>
            <a:r>
              <a:rPr lang="en-US" dirty="0">
                <a:hlinkClick r:id="rId3"/>
              </a:rPr>
              <a:t>https://docs.microsoft.com/en-us/sql/t-sql/functions/approx-count-distinct-transact-sql</a:t>
            </a:r>
            <a:endParaRPr lang="en-US" dirty="0"/>
          </a:p>
          <a:p>
            <a:pPr marL="171450" indent="-171450">
              <a:buFont typeface="Arial" panose="020B0604020202020204" pitchFamily="34" charset="0"/>
              <a:buChar char="•"/>
            </a:pPr>
            <a:endParaRPr lang="en-US" sz="882" b="0" i="0" kern="1200" baseline="0" dirty="0">
              <a:solidFill>
                <a:schemeClr val="tx1"/>
              </a:solidFill>
              <a:effectLst/>
              <a:latin typeface="+mn-lt"/>
              <a:ea typeface="+mn-ea"/>
              <a:cs typeface="+mn-cs"/>
            </a:endParaRPr>
          </a:p>
          <a:p>
            <a:pPr marL="171450" indent="-171450">
              <a:buFont typeface="Arial" panose="020B0604020202020204" pitchFamily="34" charset="0"/>
              <a:buChar char="•"/>
            </a:pPr>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dirty="0"/>
          </a:p>
        </p:txBody>
      </p:sp>
    </p:spTree>
    <p:extLst>
      <p:ext uri="{BB962C8B-B14F-4D97-AF65-F5344CB8AC3E}">
        <p14:creationId xmlns:p14="http://schemas.microsoft.com/office/powerpoint/2010/main" val="10257153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EA191-6936-4106-86B0-744F7F9163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83656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Query plans don't always use batch mode. The Query Optimizer might decide that batch mode isn't beneficial for the query.</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he two sets of features work together to improve input/output (I/O) and CPU utiliza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By using ColumnStore indexes, more of your data fits in memory. That reduces the I/O workloa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Batch mode processing uses CPU more efficiently.</a:t>
            </a:r>
            <a:endParaRPr lang="es-MX" dirty="0"/>
          </a:p>
          <a:p>
            <a:endParaRPr lang="es-MX" dirty="0"/>
          </a:p>
          <a:p>
            <a:r>
              <a:rPr lang="en-US" sz="882" b="1" i="0" kern="1200" baseline="0" dirty="0">
                <a:solidFill>
                  <a:schemeClr val="tx1"/>
                </a:solidFill>
                <a:effectLst/>
                <a:latin typeface="+mn-lt"/>
                <a:ea typeface="+mn-ea"/>
                <a:cs typeface="+mn-cs"/>
              </a:rPr>
              <a:t>Workloads that might benefit from batch mode on rowstore</a:t>
            </a:r>
          </a:p>
          <a:p>
            <a:r>
              <a:rPr lang="en-US" sz="882" b="0" i="0" kern="1200" baseline="0" dirty="0">
                <a:solidFill>
                  <a:schemeClr val="tx1"/>
                </a:solidFill>
                <a:effectLst/>
                <a:latin typeface="+mn-lt"/>
                <a:ea typeface="+mn-ea"/>
                <a:cs typeface="+mn-cs"/>
              </a:rPr>
              <a:t>The following workloads might benefit from batch mode on rowstor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 significant part of the workload consists of analytical queries. Usually, these queries use operators like joins or aggregates that process hundreds of thousands of rows or mor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he workload is CPU bound. If the bottleneck is I/O, it is still recommended that you consider a ColumnStore index, where possibl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Creating a ColumnStore index adds too much overhead to the transactional part of your workload. Or, creating a ColumnStore index is not feasible because your application depends on a feature that's not yet supported with ColumnStore indexes.</a:t>
            </a:r>
          </a:p>
          <a:p>
            <a:endParaRPr lang="es-MX" dirty="0"/>
          </a:p>
          <a:p>
            <a:endParaRPr lang="es-MX" dirty="0"/>
          </a:p>
          <a:p>
            <a:r>
              <a:rPr lang="es-MX" dirty="0"/>
              <a:t>For further information refer to:</a:t>
            </a:r>
          </a:p>
          <a:p>
            <a:pPr marL="171450" indent="-171450">
              <a:buFont typeface="Arial" panose="020B0604020202020204" pitchFamily="34" charset="0"/>
              <a:buChar char="•"/>
            </a:pPr>
            <a:r>
              <a:rPr lang="en-US" dirty="0">
                <a:hlinkClick r:id="rId3"/>
              </a:rPr>
              <a:t>https://docs.microsoft.com/en-us/sql/relational-databases/performance/intelligent-query-processing#batch-mode-on-rowstore</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dirty="0"/>
          </a:p>
        </p:txBody>
      </p:sp>
    </p:spTree>
    <p:extLst>
      <p:ext uri="{BB962C8B-B14F-4D97-AF65-F5344CB8AC3E}">
        <p14:creationId xmlns:p14="http://schemas.microsoft.com/office/powerpoint/2010/main" val="10683250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dirty="0"/>
          </a:p>
        </p:txBody>
      </p:sp>
    </p:spTree>
    <p:extLst>
      <p:ext uri="{BB962C8B-B14F-4D97-AF65-F5344CB8AC3E}">
        <p14:creationId xmlns:p14="http://schemas.microsoft.com/office/powerpoint/2010/main" val="20583496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For further information refer to:</a:t>
            </a:r>
          </a:p>
          <a:p>
            <a:pPr marL="171450" indent="-171450">
              <a:buFont typeface="Arial" panose="020B0604020202020204" pitchFamily="34" charset="0"/>
              <a:buChar char="•"/>
            </a:pPr>
            <a:r>
              <a:rPr lang="en-US" dirty="0">
                <a:hlinkClick r:id="rId3"/>
              </a:rPr>
              <a:t>https://docs.microsoft.com/en-us/sql/relational-databases/user-defined-functions/scalar-udf-inlining</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4</a:t>
            </a:fld>
            <a:endParaRPr lang="en-US" noProof="0" dirty="0"/>
          </a:p>
        </p:txBody>
      </p:sp>
    </p:spTree>
    <p:extLst>
      <p:ext uri="{BB962C8B-B14F-4D97-AF65-F5344CB8AC3E}">
        <p14:creationId xmlns:p14="http://schemas.microsoft.com/office/powerpoint/2010/main" val="19715085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dirty="0"/>
          </a:p>
        </p:txBody>
      </p:sp>
    </p:spTree>
    <p:extLst>
      <p:ext uri="{BB962C8B-B14F-4D97-AF65-F5344CB8AC3E}">
        <p14:creationId xmlns:p14="http://schemas.microsoft.com/office/powerpoint/2010/main" val="26208692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171450" lvl="0" indent="-171450" defTabSz="914460">
              <a:lnSpc>
                <a:spcPct val="90000"/>
              </a:lnSpc>
              <a:spcAft>
                <a:spcPts val="333"/>
              </a:spcAft>
              <a:buFontTx/>
              <a:buChar char="-"/>
            </a:pPr>
            <a:r>
              <a:rPr lang="en-US" sz="900" dirty="0">
                <a:solidFill>
                  <a:srgbClr val="000000"/>
                </a:solidFill>
                <a:latin typeface="Consolas" panose="020B0609020204030204" pitchFamily="49" charset="0"/>
              </a:rPr>
              <a:t>M07L04Demo01</a:t>
            </a: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o the Lab VM</a:t>
            </a:r>
          </a:p>
          <a:p>
            <a:pPr marL="171450" marR="0" lvl="0" indent="-171450" algn="l" defTabSz="914460" rtl="0" eaLnBrk="1" fontAlgn="auto" latinLnBrk="0" hangingPunct="1">
              <a:lnSpc>
                <a:spcPct val="90000"/>
              </a:lnSpc>
              <a:spcBef>
                <a:spcPts val="333"/>
              </a:spcBef>
              <a:spcAft>
                <a:spcPts val="333"/>
              </a:spcAft>
              <a:buClrTx/>
              <a:buSzTx/>
              <a:buFontTx/>
              <a:buChar char="-"/>
              <a:tabLst/>
              <a:defRP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800" i="1" dirty="0">
                <a:solidFill>
                  <a:srgbClr val="000000"/>
                </a:solidFill>
                <a:latin typeface="Consolas" panose="020B0609020204030204" pitchFamily="49" charset="0"/>
              </a:rPr>
              <a:t>M07L04Demo01</a:t>
            </a:r>
            <a:r>
              <a:rPr lang="en-US" sz="882" i="1" noProof="0" dirty="0">
                <a:solidFill>
                  <a:prstClr val="black"/>
                </a:solidFill>
                <a:latin typeface="Segoe UI Light" pitchFamily="34" charset="0"/>
              </a:rPr>
              <a:t>\aqp_interleaved.sql</a:t>
            </a:r>
          </a:p>
          <a:p>
            <a:pPr marL="171450" marR="0" lvl="0" indent="-171450" algn="l" defTabSz="914460" rtl="0" eaLnBrk="1" fontAlgn="auto" latinLnBrk="0" hangingPunct="1">
              <a:lnSpc>
                <a:spcPct val="90000"/>
              </a:lnSpc>
              <a:spcBef>
                <a:spcPts val="333"/>
              </a:spcBef>
              <a:spcAft>
                <a:spcPts val="333"/>
              </a:spcAft>
              <a:buClrTx/>
              <a:buSzTx/>
              <a:buFontTx/>
              <a:buChar char="-"/>
              <a:tabLst/>
              <a:defRP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800" i="1" dirty="0">
                <a:solidFill>
                  <a:srgbClr val="000000"/>
                </a:solidFill>
                <a:latin typeface="Consolas" panose="020B0609020204030204" pitchFamily="49" charset="0"/>
              </a:rPr>
              <a:t>M07L04Demo01</a:t>
            </a:r>
            <a:r>
              <a:rPr lang="en-US" sz="882" i="1" noProof="0" dirty="0">
                <a:solidFill>
                  <a:prstClr val="black"/>
                </a:solidFill>
                <a:latin typeface="Segoe UI Light" pitchFamily="34" charset="0"/>
              </a:rPr>
              <a:t>\iqp_batchmoderow.sql</a:t>
            </a:r>
          </a:p>
          <a:p>
            <a:pPr marL="171450" marR="0" lvl="0" indent="-171450" algn="l" defTabSz="914460" rtl="0" eaLnBrk="1" fontAlgn="auto" latinLnBrk="0" hangingPunct="1">
              <a:lnSpc>
                <a:spcPct val="90000"/>
              </a:lnSpc>
              <a:spcBef>
                <a:spcPts val="333"/>
              </a:spcBef>
              <a:spcAft>
                <a:spcPts val="333"/>
              </a:spcAft>
              <a:buClrTx/>
              <a:buSzTx/>
              <a:buFontTx/>
              <a:buChar char="-"/>
              <a:tabLst/>
              <a:defRP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800" i="1" dirty="0">
                <a:solidFill>
                  <a:srgbClr val="000000"/>
                </a:solidFill>
                <a:latin typeface="Consolas" panose="020B0609020204030204" pitchFamily="49" charset="0"/>
              </a:rPr>
              <a:t>M07L04Demo01</a:t>
            </a:r>
            <a:r>
              <a:rPr lang="en-US" sz="882" i="1" noProof="0" dirty="0">
                <a:solidFill>
                  <a:prstClr val="black"/>
                </a:solidFill>
                <a:latin typeface="Segoe UI Light" pitchFamily="34" charset="0"/>
              </a:rPr>
              <a:t>\iqp_rowmodemfg.sql</a:t>
            </a: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6387311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00" dirty="0">
                <a:solidFill>
                  <a:srgbClr val="000000"/>
                </a:solidFill>
                <a:latin typeface="Consolas" panose="020B0609020204030204" pitchFamily="49" charset="0"/>
              </a:rPr>
              <a:t>M07L04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6800959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25266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s-MX" dirty="0"/>
              <a:t>Q1: </a:t>
            </a:r>
            <a:r>
              <a:rPr lang="en-US" dirty="0"/>
              <a:t>Is it possible to disable Intelligent Query Processing features?</a:t>
            </a:r>
          </a:p>
          <a:p>
            <a:r>
              <a:rPr lang="en-US" dirty="0"/>
              <a:t>A1: Yes, you can disable all IQP features by reducing the compatibility level of the database. In some cases you can use </a:t>
            </a:r>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to disable the feature and you can also use query hits to disable the feature at sentence level.</a:t>
            </a:r>
          </a:p>
          <a:p>
            <a:endParaRPr lang="en-US" dirty="0">
              <a:solidFill>
                <a:srgbClr val="000000"/>
              </a:solidFill>
              <a:latin typeface="Consolas" panose="020B0609020204030204" pitchFamily="49"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rgbClr val="000000"/>
                </a:solidFill>
                <a:latin typeface="Consolas" panose="020B0609020204030204" pitchFamily="49" charset="0"/>
              </a:rPr>
              <a:t>Q2: </a:t>
            </a:r>
            <a:r>
              <a:rPr lang="en-US" sz="900" kern="1200" noProof="0" dirty="0">
                <a:solidFill>
                  <a:srgbClr val="FFFFFF"/>
                </a:solidFill>
                <a:latin typeface="+mn-lt"/>
                <a:ea typeface="+mn-ea"/>
                <a:cs typeface="+mn-cs"/>
              </a:rPr>
              <a:t>On queries not using Interleaved </a:t>
            </a:r>
            <a:r>
              <a:rPr lang="en-US" sz="900" kern="1200" dirty="0">
                <a:solidFill>
                  <a:srgbClr val="FFFFFF"/>
                </a:solidFill>
                <a:latin typeface="+mn-lt"/>
                <a:ea typeface="+mn-ea"/>
                <a:cs typeface="+mn-cs"/>
              </a:rPr>
              <a:t>execution for MSTVFs. How many rows are estimated for a MSTVFs?</a:t>
            </a:r>
          </a:p>
          <a:p>
            <a:r>
              <a:rPr lang="en-US" dirty="0">
                <a:solidFill>
                  <a:srgbClr val="000000"/>
                </a:solidFill>
                <a:latin typeface="Consolas" panose="020B0609020204030204" pitchFamily="49" charset="0"/>
              </a:rPr>
              <a:t>A2: </a:t>
            </a:r>
            <a:r>
              <a:rPr lang="en-US" sz="882" b="0" i="0" kern="1200" baseline="0" dirty="0">
                <a:solidFill>
                  <a:schemeClr val="tx1"/>
                </a:solidFill>
                <a:effectLst/>
                <a:latin typeface="+mn-lt"/>
                <a:ea typeface="+mn-ea"/>
                <a:cs typeface="+mn-cs"/>
              </a:rPr>
              <a:t>MSTVFs have a fixed cardinality guess of 100 starting with SQL Server 2014 (12.x), and 1 for earlier SQL Server versions.</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Q3 </a:t>
            </a:r>
            <a:r>
              <a:rPr lang="en-US" sz="900" b="0" i="0" kern="1200" dirty="0"/>
              <a:t>Does table variable deferred compilation increase the recompilation frequency?</a:t>
            </a:r>
            <a:endParaRPr lang="en-US" sz="900" kern="1200" dirty="0">
              <a:solidFill>
                <a:srgbClr val="FFFFFF"/>
              </a:solidFill>
              <a:latin typeface="+mn-lt"/>
              <a:ea typeface="+mn-ea"/>
              <a:cs typeface="+mn-cs"/>
            </a:endParaRPr>
          </a:p>
          <a:p>
            <a:r>
              <a:rPr lang="en-US" dirty="0">
                <a:solidFill>
                  <a:srgbClr val="000000"/>
                </a:solidFill>
                <a:latin typeface="Consolas" panose="020B0609020204030204" pitchFamily="49" charset="0"/>
              </a:rPr>
              <a:t>A3: </a:t>
            </a:r>
            <a:r>
              <a:rPr lang="en-US" sz="882" b="0" i="0" kern="1200" baseline="0" dirty="0">
                <a:solidFill>
                  <a:schemeClr val="tx1"/>
                </a:solidFill>
                <a:effectLst/>
                <a:latin typeface="+mn-lt"/>
                <a:ea typeface="+mn-ea"/>
                <a:cs typeface="+mn-cs"/>
              </a:rPr>
              <a:t>Table variable deferred compilation doesn't increase recompilation frequency. Rather, it shifts where the initial compilation occurs. The resulting cached plan generates based on the initial deferred compilation table variable row count. </a:t>
            </a:r>
            <a:endParaRPr lang="en-US" dirty="0">
              <a:solidFill>
                <a:srgbClr val="000000"/>
              </a:solidFill>
              <a:latin typeface="Consolas" panose="020B0609020204030204" pitchFamily="49" charset="0"/>
            </a:endParaRPr>
          </a:p>
          <a:p>
            <a:endParaRPr lang="en-US" dirty="0">
              <a:solidFill>
                <a:srgbClr val="000000"/>
              </a:solidFill>
              <a:latin typeface="Consolas" panose="020B0609020204030204" pitchFamily="49"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rgbClr val="000000"/>
                </a:solidFill>
                <a:latin typeface="Consolas" panose="020B0609020204030204" pitchFamily="49" charset="0"/>
              </a:rPr>
              <a:t>Q4: </a:t>
            </a:r>
            <a:r>
              <a:rPr lang="en-US" sz="900" kern="1200" noProof="0" dirty="0">
                <a:solidFill>
                  <a:srgbClr val="FFFFFF"/>
                </a:solidFill>
                <a:latin typeface="+mn-lt"/>
                <a:ea typeface="+mn-ea"/>
                <a:cs typeface="+mn-cs"/>
              </a:rPr>
              <a:t>On queries not using </a:t>
            </a:r>
            <a:r>
              <a:rPr lang="en-US" sz="900" b="0" i="0" dirty="0"/>
              <a:t>table variable deferred compilation</a:t>
            </a:r>
            <a:r>
              <a:rPr lang="en-US" sz="900" dirty="0">
                <a:solidFill>
                  <a:srgbClr val="FFFFFF"/>
                </a:solidFill>
                <a:latin typeface="+mn-lt"/>
                <a:ea typeface="+mn-ea"/>
                <a:cs typeface="+mn-cs"/>
              </a:rPr>
              <a:t>. How many rows are estimated for a table variable?</a:t>
            </a:r>
            <a:endParaRPr lang="en-US" sz="900" dirty="0"/>
          </a:p>
          <a:p>
            <a:r>
              <a:rPr lang="en-US" dirty="0">
                <a:solidFill>
                  <a:srgbClr val="000000"/>
                </a:solidFill>
                <a:latin typeface="Consolas" panose="020B0609020204030204" pitchFamily="49" charset="0"/>
              </a:rPr>
              <a:t>A4: A fixed guess of 1 row</a:t>
            </a:r>
          </a:p>
          <a:p>
            <a:endParaRPr lang="en-US" dirty="0">
              <a:solidFill>
                <a:srgbClr val="000000"/>
              </a:solidFill>
              <a:latin typeface="Consolas" panose="020B0609020204030204" pitchFamily="49"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rgbClr val="000000"/>
                </a:solidFill>
                <a:latin typeface="Consolas" panose="020B0609020204030204" pitchFamily="49" charset="0"/>
              </a:rPr>
              <a:t>Q5: </a:t>
            </a:r>
            <a:r>
              <a:rPr lang="en-US" sz="900" kern="1200" noProof="0" dirty="0"/>
              <a:t>What is the minimum compatibility level that supports </a:t>
            </a:r>
            <a:r>
              <a:rPr lang="en-US" sz="900" kern="1200" noProof="0" dirty="0">
                <a:solidFill>
                  <a:srgbClr val="FFFFFF"/>
                </a:solidFill>
                <a:latin typeface="+mn-lt"/>
                <a:ea typeface="+mn-ea"/>
                <a:cs typeface="+mn-cs"/>
              </a:rPr>
              <a:t>Batch mode on rowstore?</a:t>
            </a:r>
          </a:p>
          <a:p>
            <a:r>
              <a:rPr lang="en-US" dirty="0">
                <a:solidFill>
                  <a:srgbClr val="000000"/>
                </a:solidFill>
                <a:latin typeface="Consolas" panose="020B0609020204030204" pitchFamily="49" charset="0"/>
              </a:rPr>
              <a:t>A5:  150</a:t>
            </a:r>
          </a:p>
          <a:p>
            <a:endParaRPr lang="en-US" dirty="0">
              <a:solidFill>
                <a:srgbClr val="000000"/>
              </a:solidFill>
              <a:latin typeface="Consolas" panose="020B0609020204030204" pitchFamily="49" charset="0"/>
            </a:endParaRPr>
          </a:p>
          <a:p>
            <a:endParaRPr lang="en-US" dirty="0">
              <a:solidFill>
                <a:srgbClr val="000000"/>
              </a:solidFill>
              <a:latin typeface="Consolas" panose="020B0609020204030204" pitchFamily="49"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9</a:t>
            </a:fld>
            <a:endParaRPr lang="en-US" noProof="0" dirty="0"/>
          </a:p>
        </p:txBody>
      </p:sp>
    </p:spTree>
    <p:extLst>
      <p:ext uri="{BB962C8B-B14F-4D97-AF65-F5344CB8AC3E}">
        <p14:creationId xmlns:p14="http://schemas.microsoft.com/office/powerpoint/2010/main" val="4284003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EA191-6936-4106-86B0-744F7F9163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58147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EA191-6936-4106-86B0-744F7F9163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0731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541962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Execution modes</a:t>
            </a:r>
          </a:p>
          <a:p>
            <a:r>
              <a:rPr lang="en-US" sz="882" b="0" i="0" kern="1200" baseline="0" dirty="0">
                <a:solidFill>
                  <a:schemeClr val="tx1"/>
                </a:solidFill>
                <a:effectLst/>
                <a:latin typeface="+mn-lt"/>
                <a:ea typeface="+mn-ea"/>
                <a:cs typeface="+mn-cs"/>
              </a:rPr>
              <a:t>The SQL Server Database Engine can process Transact-SQL statements using two distinct processing mod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Row mode execu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Batch mode execution</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Row mode execution</a:t>
            </a:r>
          </a:p>
          <a:p>
            <a:r>
              <a:rPr lang="en-US" sz="882" b="0" i="1" kern="1200" baseline="0" dirty="0">
                <a:solidFill>
                  <a:schemeClr val="tx1"/>
                </a:solidFill>
                <a:effectLst/>
                <a:latin typeface="+mn-lt"/>
                <a:ea typeface="+mn-ea"/>
                <a:cs typeface="+mn-cs"/>
              </a:rPr>
              <a:t>Row mode execution</a:t>
            </a:r>
            <a:r>
              <a:rPr lang="en-US" sz="882" b="0" i="0" kern="1200" baseline="0" dirty="0">
                <a:solidFill>
                  <a:schemeClr val="tx1"/>
                </a:solidFill>
                <a:effectLst/>
                <a:latin typeface="+mn-lt"/>
                <a:ea typeface="+mn-ea"/>
                <a:cs typeface="+mn-cs"/>
              </a:rPr>
              <a:t> is a query processing method used with traditional RDMBS tables, where data is stored in row format. When a query is executed and accesses data in row store tables, the execution tree operators and child operators read each required row, across all the columns specified in the table schema. From each row that is read, SQL Server then retrieves the columns that are required for the result set, as referenced by a SELECT statement, JOIN predicate, or filter predicate.</a:t>
            </a:r>
          </a:p>
          <a:p>
            <a:r>
              <a:rPr lang="en-US" sz="882" b="0" i="0" kern="1200" baseline="0" dirty="0">
                <a:solidFill>
                  <a:schemeClr val="tx1"/>
                </a:solidFill>
                <a:effectLst/>
                <a:latin typeface="+mn-lt"/>
                <a:ea typeface="+mn-ea"/>
                <a:cs typeface="+mn-cs"/>
              </a:rPr>
              <a:t>Row mode execution is very efficient for OLTP scenarios, but can be less efficient when scanning large amounts of data, for example in Data Warehousing scenarios.</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Batch mode execution</a:t>
            </a:r>
          </a:p>
          <a:p>
            <a:r>
              <a:rPr lang="en-US" sz="882" b="0" i="1" kern="1200" baseline="0" dirty="0">
                <a:solidFill>
                  <a:schemeClr val="tx1"/>
                </a:solidFill>
                <a:effectLst/>
                <a:latin typeface="+mn-lt"/>
                <a:ea typeface="+mn-ea"/>
                <a:cs typeface="+mn-cs"/>
              </a:rPr>
              <a:t>Batch mode execution</a:t>
            </a:r>
            <a:r>
              <a:rPr lang="en-US" sz="882" b="0" i="0" kern="1200" baseline="0" dirty="0">
                <a:solidFill>
                  <a:schemeClr val="tx1"/>
                </a:solidFill>
                <a:effectLst/>
                <a:latin typeface="+mn-lt"/>
                <a:ea typeface="+mn-ea"/>
                <a:cs typeface="+mn-cs"/>
              </a:rPr>
              <a:t> is a query processing method used to process multiple rows together (hence the term batch). Each column within a batch is stored as a vector in a separate area of memory, so batch mode processing is vector-based. Batch mode processing also uses algorithms that are optimized for the multi-core CPUs and increased memory throughput that are found on modern hardware.</a:t>
            </a:r>
          </a:p>
          <a:p>
            <a:r>
              <a:rPr lang="en-US" sz="882" b="0" i="0" kern="1200" baseline="0" dirty="0">
                <a:solidFill>
                  <a:schemeClr val="tx1"/>
                </a:solidFill>
                <a:effectLst/>
                <a:latin typeface="+mn-lt"/>
                <a:ea typeface="+mn-ea"/>
                <a:cs typeface="+mn-cs"/>
              </a:rPr>
              <a:t>Batch mode execution is closely integrated with, and optimized around, the ColumnStore storage format. Batch mode processing operates on compressed data when possible and eliminates the exchange operator used by row mode execution. The result is better parallelism and faster performance.</a:t>
            </a:r>
          </a:p>
          <a:p>
            <a:r>
              <a:rPr lang="en-US" sz="882" b="0" i="0" kern="1200" baseline="0" dirty="0">
                <a:solidFill>
                  <a:schemeClr val="tx1"/>
                </a:solidFill>
                <a:effectLst/>
                <a:latin typeface="+mn-lt"/>
                <a:ea typeface="+mn-ea"/>
                <a:cs typeface="+mn-cs"/>
              </a:rPr>
              <a:t>When a query is executed in batch mode, and accesses data in ColumnStore indexes, the execution tree operators and child operators read multiple rows together in column segments. SQL Server reads only the columns required for the result, as referenced by a SELECT statement, JOIN predicate, or filter predicat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Batch mode execution is very efficient in Data Warehousing scenarios, where large amounts of data are read and aggregated.</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104668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query plan is the actual method that SQL Server uses to access data. While a Transact-SQL (T-SQL) statement indicates what the request is, the query plan indicates how to run the request.</a:t>
            </a:r>
          </a:p>
          <a:p>
            <a:r>
              <a:rPr lang="en-US" dirty="0"/>
              <a:t>Logical operators describe the relational algebraic operation used to process a statement. In other words, logical operators describe conceptually what operation needs to be performed. </a:t>
            </a:r>
          </a:p>
          <a:p>
            <a:r>
              <a:rPr lang="en-US" dirty="0"/>
              <a:t>Physical operators actually implement the operation defined by a logical operator using a concrete method or algorithm. For example, </a:t>
            </a:r>
            <a:r>
              <a:rPr lang="en-US" b="1" dirty="0"/>
              <a:t>join</a:t>
            </a:r>
            <a:r>
              <a:rPr lang="en-US" dirty="0"/>
              <a:t> is a logical operation, whereas </a:t>
            </a:r>
            <a:r>
              <a:rPr lang="en-US" b="1" dirty="0"/>
              <a:t>nested loops join</a:t>
            </a:r>
            <a:r>
              <a:rPr lang="en-US" dirty="0"/>
              <a:t> is a physical operator.</a:t>
            </a:r>
          </a:p>
          <a:p>
            <a:pPr lvl="0"/>
            <a:r>
              <a:rPr lang="en-US" dirty="0"/>
              <a:t>A Query Plan:</a:t>
            </a:r>
          </a:p>
          <a:p>
            <a:pPr lvl="1"/>
            <a:r>
              <a:rPr lang="en-US" dirty="0"/>
              <a:t>Is also known as an Execution Plan.</a:t>
            </a:r>
          </a:p>
          <a:p>
            <a:pPr lvl="1"/>
            <a:r>
              <a:rPr lang="en-US" dirty="0"/>
              <a:t>Is a re-entrant, read-only data structure used by any number of users.</a:t>
            </a:r>
          </a:p>
          <a:p>
            <a:pPr lvl="1"/>
            <a:r>
              <a:rPr lang="en-US" dirty="0"/>
              <a:t>Contains the data access strategy for the query. </a:t>
            </a:r>
          </a:p>
          <a:p>
            <a:pPr lvl="1"/>
            <a:r>
              <a:rPr lang="en-US" dirty="0"/>
              <a:t>Does not store any user context.</a:t>
            </a:r>
          </a:p>
          <a:p>
            <a:pPr lvl="1"/>
            <a:r>
              <a:rPr lang="en-US" dirty="0"/>
              <a:t>Is never stored more than twice in memory. There is one copy for all serial executions and possibly one copy for all parallel executions. The parallel copy covers all parallel executions, regardless of their degree of parallelism.</a:t>
            </a:r>
          </a:p>
          <a:p>
            <a:pPr lvl="0"/>
            <a:endParaRPr lang="en-US" dirty="0"/>
          </a:p>
          <a:p>
            <a:pPr lvl="0"/>
            <a:r>
              <a:rPr lang="en-US" dirty="0"/>
              <a:t>An Execution Context is derived from a query plan. Execution contexts:</a:t>
            </a:r>
          </a:p>
          <a:p>
            <a:pPr lvl="1"/>
            <a:r>
              <a:rPr lang="en-US" dirty="0"/>
              <a:t>Hold the values needed for a specific execution of a query plan.</a:t>
            </a:r>
          </a:p>
          <a:p>
            <a:pPr lvl="1"/>
            <a:r>
              <a:rPr lang="en-US" dirty="0"/>
              <a:t>Are cached and reused.</a:t>
            </a:r>
          </a:p>
          <a:p>
            <a:pPr lvl="1"/>
            <a:r>
              <a:rPr lang="en-US" dirty="0"/>
              <a:t>Are created for each user concurrently executing a batch and will hold data (such as parameter values) specific to their execution. </a:t>
            </a:r>
          </a:p>
          <a:p>
            <a:pPr lvl="1"/>
            <a:r>
              <a:rPr lang="en-US" dirty="0"/>
              <a:t>Are not re-entrant. At any point of time, an execution context can be executing only one batch submitted by a session, and while the execution is happening, the context is not given to any other session or user.</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38897907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200906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B356A62-21DA-4D2C-A75D-2C19FA202376}"/>
              </a:ext>
            </a:extLst>
          </p:cNvPr>
          <p:cNvPicPr>
            <a:picLocks noChangeAspect="1"/>
          </p:cNvPicPr>
          <p:nvPr userDrawn="1"/>
        </p:nvPicPr>
        <p:blipFill>
          <a:blip r:embed="rId2"/>
          <a:stretch>
            <a:fillRect/>
          </a:stretch>
        </p:blipFill>
        <p:spPr>
          <a:xfrm>
            <a:off x="0" y="0"/>
            <a:ext cx="12307823" cy="7050024"/>
          </a:xfrm>
          <a:prstGeom prst="rect">
            <a:avLst/>
          </a:prstGeom>
        </p:spPr>
      </p:pic>
    </p:spTree>
    <p:extLst>
      <p:ext uri="{BB962C8B-B14F-4D97-AF65-F5344CB8AC3E}">
        <p14:creationId xmlns:p14="http://schemas.microsoft.com/office/powerpoint/2010/main" val="206298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481345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18155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62238"/>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075027929"/>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57967864"/>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496039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730985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9111805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7AEB5455-E88D-37C2-039B-D066B2CDD0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52274201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92E5AECC-132F-FE6A-B3FE-04F1CF37DD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19244843"/>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9A3DC8D4-9F48-A860-FF38-91A723410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26169005"/>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17C28CF5-D23D-97AF-8A2F-64CB009FD3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54118109"/>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94AD0BB1-3675-F9E4-EE05-6B160D2055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06201862"/>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6954513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59143913"/>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5475313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15777431"/>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866699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1458596"/>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496917"/>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88071789"/>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155348868"/>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527777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9115036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122357210"/>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00573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9459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02036741"/>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34968772"/>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3680573"/>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45939852"/>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46019013"/>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619895"/>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08366510"/>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52261816"/>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0195405"/>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64755016"/>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208498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46535426"/>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31664033"/>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46968458"/>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3193643"/>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0790175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84284847"/>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15A8AC4-0523-73F3-DCB7-CD2C236F3D7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971736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117EA3E0-974D-A7B4-3930-D74ECB97675F}"/>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755169"/>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2231014"/>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619962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16245652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64482"/>
      </p:ext>
    </p:extLst>
  </p:cSld>
  <p:clrMapOvr>
    <a:masterClrMapping/>
  </p:clrMapOvr>
  <p:hf sldNum="0" hdr="0" ftr="0" dt="0"/>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8582662"/>
      </p:ext>
    </p:extLst>
  </p:cSld>
  <p:clrMapOvr>
    <a:masterClrMapping/>
  </p:clrMapOvr>
  <p:hf sldNum="0" hdr="0" ftr="0" dt="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C63D44C9-B2B1-45A7-7BD7-9E2F2E7866FF}"/>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479090405"/>
      </p:ext>
    </p:extLst>
  </p:cSld>
  <p:clrMapOvr>
    <a:masterClrMapping/>
  </p:clrMapOvr>
  <p:hf sldNum="0" hdr="0" ftr="0" dt="0"/>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CE007DC-0BC3-E567-E482-63CA8D01E2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34714440"/>
      </p:ext>
    </p:extLst>
  </p:cSld>
  <p:clrMapOvr>
    <a:masterClrMapping/>
  </p:clrMapOvr>
  <p:hf sldNum="0" hdr="0" ftr="0" dt="0"/>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8118193"/>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849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1336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87922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85612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1977434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800001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65224613"/>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5633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2394029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0867288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1677713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extLst>
              <a:ext uri="{BEBA8EAE-BF5A-486C-A8C5-ECC9F3942E4B}">
                <a14:imgProps xmlns:a14="http://schemas.microsoft.com/office/drawing/2010/main">
                  <a14:imgLayer r:embed="rId3">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52724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3966511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6188764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0075854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67808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994713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07117282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76685144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4222391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98806743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068610929"/>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49440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9552592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799517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4521669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8105109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236318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91303651"/>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9715009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94951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050611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4228129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5791245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611645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370664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4878883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8152077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963666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9080996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889869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2890017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2384726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534333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47" Type="http://schemas.openxmlformats.org/officeDocument/2006/relationships/slideLayout" Target="../slideLayouts/slideLayout57.xml"/><Relationship Id="rId50" Type="http://schemas.openxmlformats.org/officeDocument/2006/relationships/slideLayout" Target="../slideLayouts/slideLayout60.xml"/><Relationship Id="rId55" Type="http://schemas.openxmlformats.org/officeDocument/2006/relationships/tags" Target="../tags/tag4.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9" Type="http://schemas.openxmlformats.org/officeDocument/2006/relationships/slideLayout" Target="../slideLayouts/slideLayout39.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slideLayout" Target="../slideLayouts/slideLayout55.xml"/><Relationship Id="rId53" Type="http://schemas.openxmlformats.org/officeDocument/2006/relationships/tags" Target="../tags/tag2.xml"/><Relationship Id="rId58" Type="http://schemas.openxmlformats.org/officeDocument/2006/relationships/image" Target="../media/image3.emf"/><Relationship Id="rId5" Type="http://schemas.openxmlformats.org/officeDocument/2006/relationships/slideLayout" Target="../slideLayouts/slideLayout15.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slideLayout" Target="../slideLayouts/slideLayout53.xml"/><Relationship Id="rId48" Type="http://schemas.openxmlformats.org/officeDocument/2006/relationships/slideLayout" Target="../slideLayouts/slideLayout58.xml"/><Relationship Id="rId56" Type="http://schemas.openxmlformats.org/officeDocument/2006/relationships/tags" Target="../tags/tag5.xml"/><Relationship Id="rId8" Type="http://schemas.openxmlformats.org/officeDocument/2006/relationships/slideLayout" Target="../slideLayouts/slideLayout18.xml"/><Relationship Id="rId51" Type="http://schemas.openxmlformats.org/officeDocument/2006/relationships/slideLayout" Target="../slideLayouts/slideLayout61.xml"/><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slideLayout" Target="../slideLayouts/slideLayout56.xml"/><Relationship Id="rId20" Type="http://schemas.openxmlformats.org/officeDocument/2006/relationships/slideLayout" Target="../slideLayouts/slideLayout30.xml"/><Relationship Id="rId41" Type="http://schemas.openxmlformats.org/officeDocument/2006/relationships/slideLayout" Target="../slideLayouts/slideLayout51.xml"/><Relationship Id="rId54" Type="http://schemas.openxmlformats.org/officeDocument/2006/relationships/tags" Target="../tags/tag3.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slideLayout" Target="../slideLayouts/slideLayout59.xml"/><Relationship Id="rId57" Type="http://schemas.openxmlformats.org/officeDocument/2006/relationships/tags" Target="../tags/tag6.xml"/><Relationship Id="rId10" Type="http://schemas.openxmlformats.org/officeDocument/2006/relationships/slideLayout" Target="../slideLayouts/slideLayout20.xml"/><Relationship Id="rId31" Type="http://schemas.openxmlformats.org/officeDocument/2006/relationships/slideLayout" Target="../slideLayouts/slideLayout41.xml"/><Relationship Id="rId44" Type="http://schemas.openxmlformats.org/officeDocument/2006/relationships/slideLayout" Target="../slideLayouts/slideLayout54.xml"/><Relationship Id="rId5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tags" Target="../tags/tag8.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theme" Target="../theme/theme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image" Target="../media/image3.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tags" Target="../tags/tag9.xml"/><Relationship Id="rId8" Type="http://schemas.openxmlformats.org/officeDocument/2006/relationships/slideLayout" Target="../slideLayouts/slideLayout69.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tags" Target="../tags/tag7.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1" Type="http://schemas.openxmlformats.org/officeDocument/2006/relationships/slideLayout" Target="../slideLayouts/slideLayout62.xml"/><Relationship Id="rId6"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822517493"/>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Lst>
  <p:hf hdr="0" ftr="0" dt="0"/>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7">
            <a:extLst>
              <a:ext uri="{BEBA8EAE-BF5A-486C-A8C5-ECC9F3942E4B}">
                <a14:imgProps xmlns:a14="http://schemas.microsoft.com/office/drawing/2010/main">
                  <a14:imgLayer r:embed="rId8">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2334845" cy="276999"/>
          </a:xfrm>
          <a:prstGeom prst="rect">
            <a:avLst/>
          </a:prstGeom>
          <a:noFill/>
        </p:spPr>
        <p:txBody>
          <a:bodyPr wrap="square" rtlCol="0">
            <a:spAutoFit/>
          </a:bodyPr>
          <a:lstStyle/>
          <a:p>
            <a:r>
              <a:rPr lang="en-US" sz="1200" dirty="0">
                <a:solidFill>
                  <a:schemeClr val="bg1"/>
                </a:solidFill>
              </a:rPr>
              <a:t>SQL Server Query Optimization</a:t>
            </a:r>
          </a:p>
        </p:txBody>
      </p:sp>
    </p:spTree>
    <p:extLst>
      <p:ext uri="{BB962C8B-B14F-4D97-AF65-F5344CB8AC3E}">
        <p14:creationId xmlns:p14="http://schemas.microsoft.com/office/powerpoint/2010/main" val="194552338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7EE5886B-3FE6-BAB6-A44F-3966FDC08807}"/>
              </a:ext>
              <a:ext uri="{C183D7F6-B498-43B3-948B-1728B52AA6E4}">
                <adec:decorative xmlns:adec="http://schemas.microsoft.com/office/drawing/2017/decorative" val="1"/>
              </a:ext>
            </a:extLst>
          </p:cNvPr>
          <p:cNvSpPr/>
          <p:nvPr userDrawn="1">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FCF37996-1FC5-3AF6-D622-6A85283832D6}"/>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00497618"/>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802" r:id="rId36"/>
    <p:sldLayoutId id="2147483803" r:id="rId37"/>
    <p:sldLayoutId id="2147483804" r:id="rId38"/>
    <p:sldLayoutId id="2147483805" r:id="rId39"/>
    <p:sldLayoutId id="2147483806" r:id="rId40"/>
    <p:sldLayoutId id="2147483807" r:id="rId41"/>
    <p:sldLayoutId id="2147483808" r:id="rId42"/>
    <p:sldLayoutId id="2147483809" r:id="rId43"/>
    <p:sldLayoutId id="2147483810" r:id="rId44"/>
    <p:sldLayoutId id="2147483811" r:id="rId45"/>
    <p:sldLayoutId id="2147483812" r:id="rId46"/>
    <p:sldLayoutId id="2147483744" r:id="rId47"/>
    <p:sldLayoutId id="2147483707" r:id="rId48"/>
    <p:sldLayoutId id="2147483708" r:id="rId49"/>
    <p:sldLayoutId id="2147483737" r:id="rId50"/>
    <p:sldLayoutId id="2147483727" r:id="rId51"/>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131549"/>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 id="2147483847" r:id="rId34"/>
    <p:sldLayoutId id="2147483848" r:id="rId35"/>
    <p:sldLayoutId id="2147483849" r:id="rId36"/>
    <p:sldLayoutId id="2147483850" r:id="rId37"/>
    <p:sldLayoutId id="2147483851" r:id="rId38"/>
    <p:sldLayoutId id="2147483852" r:id="rId39"/>
    <p:sldLayoutId id="2147483853" r:id="rId40"/>
    <p:sldLayoutId id="2147483854" r:id="rId41"/>
    <p:sldLayoutId id="2147483855" r:id="rId42"/>
    <p:sldLayoutId id="2147483856" r:id="rId43"/>
    <p:sldLayoutId id="2147483857"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2.xml"/><Relationship Id="rId1" Type="http://schemas.openxmlformats.org/officeDocument/2006/relationships/slideLayout" Target="../slideLayouts/slideLayout1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2.jfif"/><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6.png"/><Relationship Id="rId2" Type="http://schemas.openxmlformats.org/officeDocument/2006/relationships/customXml" Target="../../customXml/item2.xml"/><Relationship Id="rId1" Type="http://schemas.openxmlformats.org/officeDocument/2006/relationships/tags" Target="../tags/tag14.xml"/><Relationship Id="rId6" Type="http://schemas.openxmlformats.org/officeDocument/2006/relationships/notesSlide" Target="../notesSlides/notesSlide16.xml"/><Relationship Id="rId5" Type="http://schemas.openxmlformats.org/officeDocument/2006/relationships/slideLayout" Target="../slideLayouts/slideLayout19.xml"/><Relationship Id="rId4" Type="http://schemas.openxmlformats.org/officeDocument/2006/relationships/tags" Target="../tags/tag1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1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9.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19.xml"/><Relationship Id="rId4" Type="http://schemas.openxmlformats.org/officeDocument/2006/relationships/image" Target="../media/image16.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8" Type="http://schemas.openxmlformats.org/officeDocument/2006/relationships/image" Target="../media/image24.gif"/><Relationship Id="rId13" Type="http://schemas.openxmlformats.org/officeDocument/2006/relationships/image" Target="../media/image29.gif"/><Relationship Id="rId3" Type="http://schemas.openxmlformats.org/officeDocument/2006/relationships/image" Target="../media/image19.gif"/><Relationship Id="rId7" Type="http://schemas.openxmlformats.org/officeDocument/2006/relationships/image" Target="../media/image23.gif"/><Relationship Id="rId12" Type="http://schemas.openxmlformats.org/officeDocument/2006/relationships/image" Target="../media/image28.gif"/><Relationship Id="rId2" Type="http://schemas.openxmlformats.org/officeDocument/2006/relationships/notesSlide" Target="../notesSlides/notesSlide22.xml"/><Relationship Id="rId1" Type="http://schemas.openxmlformats.org/officeDocument/2006/relationships/slideLayout" Target="../slideLayouts/slideLayout19.xml"/><Relationship Id="rId6" Type="http://schemas.openxmlformats.org/officeDocument/2006/relationships/image" Target="../media/image22.gif"/><Relationship Id="rId11" Type="http://schemas.openxmlformats.org/officeDocument/2006/relationships/image" Target="../media/image27.gif"/><Relationship Id="rId5" Type="http://schemas.openxmlformats.org/officeDocument/2006/relationships/image" Target="../media/image21.gif"/><Relationship Id="rId10" Type="http://schemas.openxmlformats.org/officeDocument/2006/relationships/image" Target="../media/image26.gif"/><Relationship Id="rId4" Type="http://schemas.openxmlformats.org/officeDocument/2006/relationships/image" Target="../media/image20.gif"/><Relationship Id="rId9" Type="http://schemas.openxmlformats.org/officeDocument/2006/relationships/image" Target="../media/image25.gif"/><Relationship Id="rId14" Type="http://schemas.openxmlformats.org/officeDocument/2006/relationships/image" Target="../media/image30.gif"/></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4.xml"/><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4.xml"/><Relationship Id="rId4" Type="http://schemas.openxmlformats.org/officeDocument/2006/relationships/image" Target="../media/image37.png"/></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3.xml"/><Relationship Id="rId1" Type="http://schemas.openxmlformats.org/officeDocument/2006/relationships/slideLayout" Target="../slideLayouts/slideLayout18.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0.xml"/><Relationship Id="rId1" Type="http://schemas.openxmlformats.org/officeDocument/2006/relationships/tags" Target="../tags/tag16.xml"/><Relationship Id="rId4" Type="http://schemas.openxmlformats.org/officeDocument/2006/relationships/image" Target="../media/image38.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9.png"/><Relationship Id="rId4" Type="http://schemas.openxmlformats.org/officeDocument/2006/relationships/notesSlide" Target="../notesSlides/notesSlide2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2.jfif"/><Relationship Id="rId4" Type="http://schemas.openxmlformats.org/officeDocument/2006/relationships/notesSlide" Target="../notesSlides/notesSlide26.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7.xml"/><Relationship Id="rId1" Type="http://schemas.openxmlformats.org/officeDocument/2006/relationships/slideLayout" Target="../slideLayouts/slideLayout2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3" Type="http://schemas.openxmlformats.org/officeDocument/2006/relationships/customXml" Target="../../customXml/item10.xml"/><Relationship Id="rId7" Type="http://schemas.openxmlformats.org/officeDocument/2006/relationships/image" Target="../media/image6.png"/><Relationship Id="rId2" Type="http://schemas.openxmlformats.org/officeDocument/2006/relationships/customXml" Target="../../customXml/item7.xml"/><Relationship Id="rId1" Type="http://schemas.openxmlformats.org/officeDocument/2006/relationships/tags" Target="../tags/tag21.xml"/><Relationship Id="rId6" Type="http://schemas.openxmlformats.org/officeDocument/2006/relationships/notesSlide" Target="../notesSlides/notesSlide28.xml"/><Relationship Id="rId5" Type="http://schemas.openxmlformats.org/officeDocument/2006/relationships/slideLayout" Target="../slideLayouts/slideLayout19.xml"/><Relationship Id="rId4" Type="http://schemas.openxmlformats.org/officeDocument/2006/relationships/tags" Target="../tags/tag22.xml"/></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6.png"/><Relationship Id="rId2" Type="http://schemas.openxmlformats.org/officeDocument/2006/relationships/customXml" Target="../../customXml/item5.xml"/><Relationship Id="rId1" Type="http://schemas.openxmlformats.org/officeDocument/2006/relationships/tags" Target="../tags/tag10.xml"/><Relationship Id="rId6" Type="http://schemas.openxmlformats.org/officeDocument/2006/relationships/notesSlide" Target="../notesSlides/notesSlide2.xml"/><Relationship Id="rId5" Type="http://schemas.openxmlformats.org/officeDocument/2006/relationships/slideLayout" Target="../slideLayouts/slideLayout19.xml"/><Relationship Id="rId4" Type="http://schemas.openxmlformats.org/officeDocument/2006/relationships/tags" Target="../tags/tag11.xml"/></Relationships>
</file>

<file path=ppt/slides/_rels/slide40.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image" Target="../media/image41.png"/><Relationship Id="rId7" Type="http://schemas.openxmlformats.org/officeDocument/2006/relationships/diagramQuickStyle" Target="../diagrams/quickStyle15.xml"/><Relationship Id="rId2" Type="http://schemas.openxmlformats.org/officeDocument/2006/relationships/notesSlide" Target="../notesSlides/notesSlide30.xml"/><Relationship Id="rId1" Type="http://schemas.openxmlformats.org/officeDocument/2006/relationships/slideLayout" Target="../slideLayouts/slideLayout19.xml"/><Relationship Id="rId6" Type="http://schemas.openxmlformats.org/officeDocument/2006/relationships/diagramLayout" Target="../diagrams/layout15.xml"/><Relationship Id="rId5" Type="http://schemas.openxmlformats.org/officeDocument/2006/relationships/diagramData" Target="../diagrams/data15.xml"/><Relationship Id="rId10" Type="http://schemas.openxmlformats.org/officeDocument/2006/relationships/image" Target="../media/image43.png"/><Relationship Id="rId4" Type="http://schemas.openxmlformats.org/officeDocument/2006/relationships/image" Target="../media/image42.gif"/><Relationship Id="rId9" Type="http://schemas.microsoft.com/office/2007/relationships/diagramDrawing" Target="../diagrams/drawing15.xml"/></Relationships>
</file>

<file path=ppt/slides/_rels/slide41.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2.xml"/><Relationship Id="rId1" Type="http://schemas.openxmlformats.org/officeDocument/2006/relationships/slideLayout" Target="../slideLayouts/slideLayout19.xml"/><Relationship Id="rId5" Type="http://schemas.openxmlformats.org/officeDocument/2006/relationships/image" Target="../media/image46.png"/><Relationship Id="rId4" Type="http://schemas.openxmlformats.org/officeDocument/2006/relationships/image" Target="../media/image45.png"/></Relationships>
</file>

<file path=ppt/slides/_rels/slide43.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image" Target="../media/image47.png"/><Relationship Id="rId7" Type="http://schemas.openxmlformats.org/officeDocument/2006/relationships/diagramData" Target="../diagrams/data16.xml"/><Relationship Id="rId2" Type="http://schemas.openxmlformats.org/officeDocument/2006/relationships/notesSlide" Target="../notesSlides/notesSlide34.xml"/><Relationship Id="rId1" Type="http://schemas.openxmlformats.org/officeDocument/2006/relationships/slideLayout" Target="../slideLayouts/slideLayout19.xml"/><Relationship Id="rId6" Type="http://schemas.openxmlformats.org/officeDocument/2006/relationships/image" Target="../media/image50.png"/><Relationship Id="rId11" Type="http://schemas.microsoft.com/office/2007/relationships/diagramDrawing" Target="../diagrams/drawing16.xml"/><Relationship Id="rId5" Type="http://schemas.openxmlformats.org/officeDocument/2006/relationships/image" Target="../media/image49.png"/><Relationship Id="rId10" Type="http://schemas.openxmlformats.org/officeDocument/2006/relationships/diagramColors" Target="../diagrams/colors16.xml"/><Relationship Id="rId4" Type="http://schemas.openxmlformats.org/officeDocument/2006/relationships/image" Target="../media/image48.png"/><Relationship Id="rId9" Type="http://schemas.openxmlformats.org/officeDocument/2006/relationships/diagramQuickStyle" Target="../diagrams/quickStyle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7.xml"/><Relationship Id="rId1" Type="http://schemas.openxmlformats.org/officeDocument/2006/relationships/slideLayout" Target="../slideLayouts/slideLayout19.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9.xml"/><Relationship Id="rId1" Type="http://schemas.openxmlformats.org/officeDocument/2006/relationships/slideLayout" Target="../slideLayouts/slideLayout1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0.xml"/><Relationship Id="rId1" Type="http://schemas.openxmlformats.org/officeDocument/2006/relationships/slideLayout" Target="../slideLayouts/slideLayout19.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19.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2.xml"/><Relationship Id="rId1" Type="http://schemas.openxmlformats.org/officeDocument/2006/relationships/slideLayout" Target="../slideLayouts/slideLayout19.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0.xml"/><Relationship Id="rId1" Type="http://schemas.openxmlformats.org/officeDocument/2006/relationships/tags" Target="../tags/tag23.xml"/><Relationship Id="rId4" Type="http://schemas.openxmlformats.org/officeDocument/2006/relationships/image" Target="../media/image38.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39.png"/><Relationship Id="rId4" Type="http://schemas.openxmlformats.org/officeDocument/2006/relationships/notesSlide" Target="../notesSlides/notesSlide4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2.jfif"/><Relationship Id="rId4" Type="http://schemas.openxmlformats.org/officeDocument/2006/relationships/notesSlide" Target="../notesSlides/notesSlide46.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7.xml"/><Relationship Id="rId1" Type="http://schemas.openxmlformats.org/officeDocument/2006/relationships/slideLayout" Target="../slideLayouts/slideLayout24.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0.png"/><Relationship Id="rId4" Type="http://schemas.openxmlformats.org/officeDocument/2006/relationships/image" Target="../media/image9.sv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Query Execution and Plan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7</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Graphical execution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extLst>
              <p:ext uri="{D42A27DB-BD31-4B8C-83A1-F6EECF244321}">
                <p14:modId xmlns:p14="http://schemas.microsoft.com/office/powerpoint/2010/main" val="537678353"/>
              </p:ext>
            </p:extLst>
          </p:nvPr>
        </p:nvGraphicFramePr>
        <p:xfrm>
          <a:off x="655636" y="1295400"/>
          <a:ext cx="11079164" cy="5105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95789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Execution modes</a:t>
            </a:r>
          </a:p>
        </p:txBody>
      </p:sp>
      <p:graphicFrame>
        <p:nvGraphicFramePr>
          <p:cNvPr id="10" name="Diagram 9">
            <a:extLst>
              <a:ext uri="{FF2B5EF4-FFF2-40B4-BE49-F238E27FC236}">
                <a16:creationId xmlns:a16="http://schemas.microsoft.com/office/drawing/2014/main" id="{2E361A70-62E8-4C24-8093-F2EEBBF0058D}"/>
              </a:ext>
            </a:extLst>
          </p:cNvPr>
          <p:cNvGraphicFramePr/>
          <p:nvPr>
            <p:extLst>
              <p:ext uri="{D42A27DB-BD31-4B8C-83A1-F6EECF244321}">
                <p14:modId xmlns:p14="http://schemas.microsoft.com/office/powerpoint/2010/main" val="3968947908"/>
              </p:ext>
            </p:extLst>
          </p:nvPr>
        </p:nvGraphicFramePr>
        <p:xfrm>
          <a:off x="439971" y="1248048"/>
          <a:ext cx="11312056"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52700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Main components</a:t>
            </a:r>
          </a:p>
        </p:txBody>
      </p:sp>
      <p:sp>
        <p:nvSpPr>
          <p:cNvPr id="12" name="Content Placeholder 11">
            <a:extLst>
              <a:ext uri="{FF2B5EF4-FFF2-40B4-BE49-F238E27FC236}">
                <a16:creationId xmlns:a16="http://schemas.microsoft.com/office/drawing/2014/main" id="{EB0D7ADE-EA66-4D67-AB24-86EB688BD1AE}"/>
              </a:ext>
            </a:extLst>
          </p:cNvPr>
          <p:cNvSpPr>
            <a:spLocks noGrp="1"/>
          </p:cNvSpPr>
          <p:nvPr>
            <p:ph sz="quarter" idx="13"/>
          </p:nvPr>
        </p:nvSpPr>
        <p:spPr>
          <a:xfrm>
            <a:off x="655638" y="2057398"/>
            <a:ext cx="4830762" cy="4170365"/>
          </a:xfrm>
        </p:spPr>
        <p:txBody>
          <a:bodyPr>
            <a:normAutofit/>
          </a:bodyPr>
          <a:lstStyle/>
          <a:p>
            <a:pPr marL="0" indent="0">
              <a:buNone/>
            </a:pPr>
            <a:r>
              <a:rPr lang="en-US" b="1" dirty="0"/>
              <a:t>Compiled Plan (or Query Plan)</a:t>
            </a:r>
          </a:p>
          <a:p>
            <a:pPr marL="0" indent="0">
              <a:buNone/>
            </a:pPr>
            <a:r>
              <a:rPr lang="en-US" sz="2200" dirty="0"/>
              <a:t>Compilation produces a query plan, which is a read-only data structure used by any number of users.</a:t>
            </a:r>
          </a:p>
          <a:p>
            <a:pPr marL="0" indent="0">
              <a:buNone/>
            </a:pPr>
            <a:endParaRPr lang="en-US" sz="2200" dirty="0"/>
          </a:p>
          <a:p>
            <a:pPr marL="0" indent="0">
              <a:buNone/>
            </a:pPr>
            <a:r>
              <a:rPr lang="en-US" b="1" dirty="0"/>
              <a:t>Execution Context</a:t>
            </a:r>
          </a:p>
          <a:p>
            <a:pPr marL="0" indent="0">
              <a:buNone/>
            </a:pPr>
            <a:r>
              <a:rPr lang="en-US" sz="2200" dirty="0"/>
              <a:t>A data structure used to hold information specific to a query execution, such as parameter values.</a:t>
            </a:r>
          </a:p>
          <a:p>
            <a:endParaRPr lang="en-US" sz="2200" dirty="0"/>
          </a:p>
        </p:txBody>
      </p:sp>
      <p:grpSp>
        <p:nvGrpSpPr>
          <p:cNvPr id="11" name="Group 10">
            <a:extLst>
              <a:ext uri="{FF2B5EF4-FFF2-40B4-BE49-F238E27FC236}">
                <a16:creationId xmlns:a16="http://schemas.microsoft.com/office/drawing/2014/main" id="{D37515E2-2A06-4908-A887-DF1D171EEAD6}"/>
              </a:ext>
            </a:extLst>
          </p:cNvPr>
          <p:cNvGrpSpPr/>
          <p:nvPr/>
        </p:nvGrpSpPr>
        <p:grpSpPr>
          <a:xfrm>
            <a:off x="5486400" y="2057399"/>
            <a:ext cx="6602461" cy="3361209"/>
            <a:chOff x="5202321" y="2057400"/>
            <a:chExt cx="6602461" cy="3361209"/>
          </a:xfrm>
        </p:grpSpPr>
        <p:graphicFrame>
          <p:nvGraphicFramePr>
            <p:cNvPr id="5" name="Diagram 4">
              <a:extLst>
                <a:ext uri="{FF2B5EF4-FFF2-40B4-BE49-F238E27FC236}">
                  <a16:creationId xmlns:a16="http://schemas.microsoft.com/office/drawing/2014/main" id="{D7AA4849-9265-4768-8404-82A32BB2007A}"/>
                </a:ext>
              </a:extLst>
            </p:cNvPr>
            <p:cNvGraphicFramePr/>
            <p:nvPr>
              <p:extLst>
                <p:ext uri="{D42A27DB-BD31-4B8C-83A1-F6EECF244321}">
                  <p14:modId xmlns:p14="http://schemas.microsoft.com/office/powerpoint/2010/main" val="2644843710"/>
                </p:ext>
              </p:extLst>
            </p:nvPr>
          </p:nvGraphicFramePr>
          <p:xfrm>
            <a:off x="5410200" y="2057400"/>
            <a:ext cx="6126162" cy="33612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69E72AA-BB18-4896-B740-EFF2AF1D1445}"/>
                </a:ext>
              </a:extLst>
            </p:cNvPr>
            <p:cNvSpPr txBox="1"/>
            <p:nvPr/>
          </p:nvSpPr>
          <p:spPr>
            <a:xfrm>
              <a:off x="9448800" y="2861846"/>
              <a:ext cx="1183529" cy="338554"/>
            </a:xfrm>
            <a:prstGeom prst="rect">
              <a:avLst/>
            </a:prstGeom>
            <a:noFill/>
          </p:spPr>
          <p:txBody>
            <a:bodyPr wrap="none" rtlCol="0">
              <a:spAutoFit/>
            </a:bodyPr>
            <a:lstStyle/>
            <a:p>
              <a:pPr>
                <a:buSzPct val="110000"/>
              </a:pPr>
              <a:r>
                <a:rPr lang="en-US" sz="1600" dirty="0">
                  <a:solidFill>
                    <a:srgbClr val="000000"/>
                  </a:solidFill>
                  <a:latin typeface="Segoe UI" panose="020B0502040204020203" pitchFamily="34" charset="0"/>
                  <a:cs typeface="Segoe UI" panose="020B0502040204020203" pitchFamily="34" charset="0"/>
                </a:rPr>
                <a:t>Query Plan</a:t>
              </a:r>
            </a:p>
          </p:txBody>
        </p:sp>
        <p:sp>
          <p:nvSpPr>
            <p:cNvPr id="7" name="TextBox 6">
              <a:extLst>
                <a:ext uri="{FF2B5EF4-FFF2-40B4-BE49-F238E27FC236}">
                  <a16:creationId xmlns:a16="http://schemas.microsoft.com/office/drawing/2014/main" id="{1ACA28AE-0391-4926-ADCC-37A802323BB7}"/>
                </a:ext>
              </a:extLst>
            </p:cNvPr>
            <p:cNvSpPr txBox="1"/>
            <p:nvPr/>
          </p:nvSpPr>
          <p:spPr>
            <a:xfrm>
              <a:off x="5202321"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1</a:t>
              </a:r>
            </a:p>
          </p:txBody>
        </p:sp>
        <p:sp>
          <p:nvSpPr>
            <p:cNvPr id="8" name="TextBox 7">
              <a:extLst>
                <a:ext uri="{FF2B5EF4-FFF2-40B4-BE49-F238E27FC236}">
                  <a16:creationId xmlns:a16="http://schemas.microsoft.com/office/drawing/2014/main" id="{11E6287D-903E-465A-BF53-468599B77B3D}"/>
                </a:ext>
              </a:extLst>
            </p:cNvPr>
            <p:cNvSpPr txBox="1"/>
            <p:nvPr/>
          </p:nvSpPr>
          <p:spPr>
            <a:xfrm>
              <a:off x="9459876"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3</a:t>
              </a:r>
            </a:p>
          </p:txBody>
        </p:sp>
        <p:sp>
          <p:nvSpPr>
            <p:cNvPr id="9" name="TextBox 8">
              <a:extLst>
                <a:ext uri="{FF2B5EF4-FFF2-40B4-BE49-F238E27FC236}">
                  <a16:creationId xmlns:a16="http://schemas.microsoft.com/office/drawing/2014/main" id="{C3C59E8B-3CB8-4F4A-B6E6-7EBF7C5DC086}"/>
                </a:ext>
              </a:extLst>
            </p:cNvPr>
            <p:cNvSpPr txBox="1"/>
            <p:nvPr/>
          </p:nvSpPr>
          <p:spPr>
            <a:xfrm>
              <a:off x="7300828"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2</a:t>
              </a:r>
            </a:p>
          </p:txBody>
        </p:sp>
      </p:grpSp>
    </p:spTree>
    <p:extLst>
      <p:ext uri="{BB962C8B-B14F-4D97-AF65-F5344CB8AC3E}">
        <p14:creationId xmlns:p14="http://schemas.microsoft.com/office/powerpoint/2010/main" val="37276228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Cach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6" y="1556780"/>
            <a:ext cx="11155363" cy="1567420"/>
          </a:xfrm>
        </p:spPr>
        <p:txBody>
          <a:bodyPr>
            <a:normAutofit/>
          </a:bodyPr>
          <a:lstStyle/>
          <a:p>
            <a:pPr marL="0" indent="0">
              <a:buNone/>
            </a:pPr>
            <a:r>
              <a:rPr lang="en-US" dirty="0"/>
              <a:t>Part of the memory pool used to store execution plans – also known as plan cache.</a:t>
            </a:r>
          </a:p>
          <a:p>
            <a:pPr marL="0" indent="0">
              <a:buNone/>
            </a:pPr>
            <a:endParaRPr lang="en-US" dirty="0"/>
          </a:p>
          <a:p>
            <a:pPr marL="0" indent="0">
              <a:buNone/>
            </a:pPr>
            <a:r>
              <a:rPr lang="en-US" dirty="0"/>
              <a:t>The plan cache has two stores for all compiled plans:</a:t>
            </a:r>
          </a:p>
          <a:p>
            <a:pPr marL="0" indent="0">
              <a:buNone/>
            </a:pPr>
            <a:endParaRPr lang="en-US" dirty="0"/>
          </a:p>
        </p:txBody>
      </p:sp>
      <p:graphicFrame>
        <p:nvGraphicFramePr>
          <p:cNvPr id="10" name="Diagram 9">
            <a:extLst>
              <a:ext uri="{FF2B5EF4-FFF2-40B4-BE49-F238E27FC236}">
                <a16:creationId xmlns:a16="http://schemas.microsoft.com/office/drawing/2014/main" id="{FCEC238A-94EC-4139-86D0-C4CF104F2FA0}"/>
              </a:ext>
            </a:extLst>
          </p:cNvPr>
          <p:cNvGraphicFramePr/>
          <p:nvPr>
            <p:extLst>
              <p:ext uri="{D42A27DB-BD31-4B8C-83A1-F6EECF244321}">
                <p14:modId xmlns:p14="http://schemas.microsoft.com/office/powerpoint/2010/main" val="1677646781"/>
              </p:ext>
            </p:extLst>
          </p:nvPr>
        </p:nvGraphicFramePr>
        <p:xfrm>
          <a:off x="683068" y="2971800"/>
          <a:ext cx="11155363" cy="30998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977847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ompilation and execu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oncepts</a:t>
            </a:r>
          </a:p>
        </p:txBody>
      </p:sp>
      <p:graphicFrame>
        <p:nvGraphicFramePr>
          <p:cNvPr id="4" name="Diagram 3">
            <a:extLst>
              <a:ext uri="{FF2B5EF4-FFF2-40B4-BE49-F238E27FC236}">
                <a16:creationId xmlns:a16="http://schemas.microsoft.com/office/drawing/2014/main" id="{D437032D-66F5-4217-A6E7-5417D8E385E2}"/>
              </a:ext>
            </a:extLst>
          </p:cNvPr>
          <p:cNvGraphicFramePr/>
          <p:nvPr>
            <p:extLst>
              <p:ext uri="{D42A27DB-BD31-4B8C-83A1-F6EECF244321}">
                <p14:modId xmlns:p14="http://schemas.microsoft.com/office/powerpoint/2010/main" val="4117809940"/>
              </p:ext>
            </p:extLst>
          </p:nvPr>
        </p:nvGraphicFramePr>
        <p:xfrm>
          <a:off x="868679" y="1684097"/>
          <a:ext cx="10515600" cy="4632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9391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Recompilations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graphicFrame>
        <p:nvGraphicFramePr>
          <p:cNvPr id="5" name="Content Placeholder 4">
            <a:extLst>
              <a:ext uri="{FF2B5EF4-FFF2-40B4-BE49-F238E27FC236}">
                <a16:creationId xmlns:a16="http://schemas.microsoft.com/office/drawing/2014/main" id="{029E5A90-5CBC-473C-BA75-DD641F35B8FF}"/>
              </a:ext>
            </a:extLst>
          </p:cNvPr>
          <p:cNvGraphicFramePr>
            <a:graphicFrameLocks noGrp="1"/>
          </p:cNvGraphicFramePr>
          <p:nvPr>
            <p:ph sz="quarter" idx="13"/>
            <p:extLst>
              <p:ext uri="{D42A27DB-BD31-4B8C-83A1-F6EECF244321}">
                <p14:modId xmlns:p14="http://schemas.microsoft.com/office/powerpoint/2010/main" val="646898930"/>
              </p:ext>
            </p:extLst>
          </p:nvPr>
        </p:nvGraphicFramePr>
        <p:xfrm>
          <a:off x="655637" y="1387989"/>
          <a:ext cx="11056626" cy="48604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0290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normAutofit/>
          </a:bodyPr>
          <a:lstStyle/>
          <a:p>
            <a:r>
              <a:rPr lang="en-US" dirty="0"/>
              <a:t>SQL Server Execution Plan Recompilations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Recompilation reasons</a:t>
            </a:r>
          </a:p>
        </p:txBody>
      </p:sp>
      <p:graphicFrame>
        <p:nvGraphicFramePr>
          <p:cNvPr id="5" name="Content Placeholder 4">
            <a:extLst>
              <a:ext uri="{FF2B5EF4-FFF2-40B4-BE49-F238E27FC236}">
                <a16:creationId xmlns:a16="http://schemas.microsoft.com/office/drawing/2014/main" id="{4E0C6875-C2A8-44EE-BFBF-C01D9EE7766A}"/>
              </a:ext>
            </a:extLst>
          </p:cNvPr>
          <p:cNvGraphicFramePr>
            <a:graphicFrameLocks noGrp="1"/>
          </p:cNvGraphicFramePr>
          <p:nvPr>
            <p:ph sz="quarter" idx="13"/>
            <p:extLst>
              <p:ext uri="{D42A27DB-BD31-4B8C-83A1-F6EECF244321}">
                <p14:modId xmlns:p14="http://schemas.microsoft.com/office/powerpoint/2010/main" val="3766764959"/>
              </p:ext>
            </p:extLst>
          </p:nvPr>
        </p:nvGraphicFramePr>
        <p:xfrm>
          <a:off x="655638" y="1408114"/>
          <a:ext cx="10880726" cy="5068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639096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206597824"/>
              </p:ext>
            </p:extLst>
          </p:nvPr>
        </p:nvGraphicFramePr>
        <p:xfrm>
          <a:off x="655638" y="1408113"/>
          <a:ext cx="10880725" cy="43830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Query Plan Analysis</a:t>
            </a:r>
          </a:p>
        </p:txBody>
      </p:sp>
    </p:spTree>
    <p:extLst>
      <p:ext uri="{BB962C8B-B14F-4D97-AF65-F5344CB8AC3E}">
        <p14:creationId xmlns:p14="http://schemas.microsoft.com/office/powerpoint/2010/main" val="574958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Query Execution</a:t>
            </a:r>
          </a:p>
          <a:p>
            <a:r>
              <a:rPr lang="en-US" dirty="0"/>
              <a:t>Lesson 2: SQL Server Query Plan Analysis</a:t>
            </a:r>
          </a:p>
          <a:p>
            <a:r>
              <a:rPr lang="en-US" dirty="0"/>
              <a:t>Lesson 3: SQL Server Intelligent Query Processing</a:t>
            </a:r>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Read execution plans.</a:t>
            </a:r>
          </a:p>
          <a:p>
            <a:r>
              <a:rPr lang="en-US" dirty="0"/>
              <a:t>Understand logical and physical join operators.</a:t>
            </a:r>
          </a:p>
          <a:p>
            <a:r>
              <a:rPr lang="en-US" dirty="0"/>
              <a:t>Describe data acces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Graphical execution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nvGraphicFramePr>
        <p:xfrm>
          <a:off x="655636" y="1295400"/>
          <a:ext cx="11079164" cy="5105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15370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tents of an Execution Plan</a:t>
            </a:r>
          </a:p>
        </p:txBody>
      </p:sp>
      <p:graphicFrame>
        <p:nvGraphicFramePr>
          <p:cNvPr id="5" name="Content Placeholder 4">
            <a:extLst>
              <a:ext uri="{FF2B5EF4-FFF2-40B4-BE49-F238E27FC236}">
                <a16:creationId xmlns:a16="http://schemas.microsoft.com/office/drawing/2014/main" id="{54FAC4F4-38DA-480E-819C-168F142E37A2}"/>
              </a:ext>
            </a:extLst>
          </p:cNvPr>
          <p:cNvGraphicFramePr>
            <a:graphicFrameLocks noGrp="1"/>
          </p:cNvGraphicFramePr>
          <p:nvPr>
            <p:ph sz="quarter" idx="13"/>
            <p:extLst>
              <p:ext uri="{D42A27DB-BD31-4B8C-83A1-F6EECF244321}">
                <p14:modId xmlns:p14="http://schemas.microsoft.com/office/powerpoint/2010/main" val="2216781205"/>
              </p:ext>
            </p:extLst>
          </p:nvPr>
        </p:nvGraphicFramePr>
        <p:xfrm>
          <a:off x="380999" y="1143000"/>
          <a:ext cx="11155364" cy="51298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488382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Text and XML</a:t>
            </a:r>
            <a:endParaRPr lang="en-US" dirty="0"/>
          </a:p>
        </p:txBody>
      </p:sp>
      <p:graphicFrame>
        <p:nvGraphicFramePr>
          <p:cNvPr id="5" name="Table 5">
            <a:extLst>
              <a:ext uri="{FF2B5EF4-FFF2-40B4-BE49-F238E27FC236}">
                <a16:creationId xmlns:a16="http://schemas.microsoft.com/office/drawing/2014/main" id="{8F820CDF-BD1D-4AD1-BE1D-7130A022C764}"/>
              </a:ext>
            </a:extLst>
          </p:cNvPr>
          <p:cNvGraphicFramePr>
            <a:graphicFrameLocks noGrp="1"/>
          </p:cNvGraphicFramePr>
          <p:nvPr>
            <p:ph sz="quarter" idx="13"/>
            <p:extLst>
              <p:ext uri="{D42A27DB-BD31-4B8C-83A1-F6EECF244321}">
                <p14:modId xmlns:p14="http://schemas.microsoft.com/office/powerpoint/2010/main" val="1207066608"/>
              </p:ext>
            </p:extLst>
          </p:nvPr>
        </p:nvGraphicFramePr>
        <p:xfrm>
          <a:off x="655638" y="1408112"/>
          <a:ext cx="10880725" cy="4306885"/>
        </p:xfrm>
        <a:graphic>
          <a:graphicData uri="http://schemas.openxmlformats.org/drawingml/2006/table">
            <a:tbl>
              <a:tblPr firstRow="1" bandRow="1">
                <a:tableStyleId>{69012ECD-51FC-41F1-AA8D-1B2483CD663E}</a:tableStyleId>
              </a:tblPr>
              <a:tblGrid>
                <a:gridCol w="1249362">
                  <a:extLst>
                    <a:ext uri="{9D8B030D-6E8A-4147-A177-3AD203B41FA5}">
                      <a16:colId xmlns:a16="http://schemas.microsoft.com/office/drawing/2014/main" val="25033486"/>
                    </a:ext>
                  </a:extLst>
                </a:gridCol>
                <a:gridCol w="3429000">
                  <a:extLst>
                    <a:ext uri="{9D8B030D-6E8A-4147-A177-3AD203B41FA5}">
                      <a16:colId xmlns:a16="http://schemas.microsoft.com/office/drawing/2014/main" val="478991919"/>
                    </a:ext>
                  </a:extLst>
                </a:gridCol>
                <a:gridCol w="1219200">
                  <a:extLst>
                    <a:ext uri="{9D8B030D-6E8A-4147-A177-3AD203B41FA5}">
                      <a16:colId xmlns:a16="http://schemas.microsoft.com/office/drawing/2014/main" val="3949223423"/>
                    </a:ext>
                  </a:extLst>
                </a:gridCol>
                <a:gridCol w="2362200">
                  <a:extLst>
                    <a:ext uri="{9D8B030D-6E8A-4147-A177-3AD203B41FA5}">
                      <a16:colId xmlns:a16="http://schemas.microsoft.com/office/drawing/2014/main" val="78640999"/>
                    </a:ext>
                  </a:extLst>
                </a:gridCol>
                <a:gridCol w="2620963">
                  <a:extLst>
                    <a:ext uri="{9D8B030D-6E8A-4147-A177-3AD203B41FA5}">
                      <a16:colId xmlns:a16="http://schemas.microsoft.com/office/drawing/2014/main" val="2549998966"/>
                    </a:ext>
                  </a:extLst>
                </a:gridCol>
              </a:tblGrid>
              <a:tr h="1682490">
                <a:tc>
                  <a:txBody>
                    <a:bodyPr/>
                    <a:lstStyle/>
                    <a:p>
                      <a:pPr algn="ctr"/>
                      <a:endParaRPr lang="en-US" sz="2000" dirty="0"/>
                    </a:p>
                  </a:txBody>
                  <a:tcPr/>
                </a:tc>
                <a:tc>
                  <a:txBody>
                    <a:bodyPr/>
                    <a:lstStyle/>
                    <a:p>
                      <a:pPr algn="ctr"/>
                      <a:r>
                        <a:rPr lang="es-MX" sz="2000" dirty="0"/>
                        <a:t>Command</a:t>
                      </a:r>
                      <a:endParaRPr lang="en-US" sz="2000" dirty="0"/>
                    </a:p>
                  </a:txBody>
                  <a:tcPr/>
                </a:tc>
                <a:tc>
                  <a:txBody>
                    <a:bodyPr/>
                    <a:lstStyle/>
                    <a:p>
                      <a:pPr algn="ctr"/>
                      <a:r>
                        <a:rPr lang="en-US" sz="2000" dirty="0"/>
                        <a:t>Execute query?</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u="none" strike="noStrike" kern="1200" baseline="0" dirty="0">
                          <a:solidFill>
                            <a:schemeClr val="lt1"/>
                          </a:solidFill>
                        </a:rPr>
                        <a:t>Include estimated row counts &amp; stats</a:t>
                      </a:r>
                      <a:r>
                        <a:rPr lang="en-US" sz="2000" b="0" u="none" strike="noStrike" kern="1200" baseline="0" dirty="0">
                          <a:solidFill>
                            <a:schemeClr val="lt1"/>
                          </a:solidFill>
                        </a:rPr>
                        <a:t> (Estimated Query Plan)</a:t>
                      </a:r>
                      <a:endParaRPr lang="en-US" sz="2000" b="0" i="0" u="none" strike="noStrike" kern="1200" baseline="0" dirty="0">
                        <a:solidFill>
                          <a:schemeClr val="lt1"/>
                        </a:solidFill>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u="none" strike="noStrike" kern="1200" baseline="0" dirty="0">
                          <a:solidFill>
                            <a:schemeClr val="lt1"/>
                          </a:solidFill>
                        </a:rPr>
                        <a:t>Include actual row counts &amp; stats</a:t>
                      </a:r>
                      <a:r>
                        <a:rPr lang="en-US" sz="2000" b="0" u="none" strike="noStrike" kern="1200" baseline="0" dirty="0">
                          <a:solidFill>
                            <a:schemeClr val="lt1"/>
                          </a:solidFill>
                        </a:rPr>
                        <a:t>	</a:t>
                      </a:r>
                    </a:p>
                    <a:p>
                      <a:pPr algn="ctr"/>
                      <a:r>
                        <a:rPr lang="en-US" sz="2000" b="0" u="none" strike="noStrike" kern="1200" baseline="0" dirty="0">
                          <a:solidFill>
                            <a:schemeClr val="lt1"/>
                          </a:solidFill>
                        </a:rPr>
                        <a:t>(Actual Query Plan)</a:t>
                      </a:r>
                      <a:endParaRPr lang="en-US" sz="2000" dirty="0"/>
                    </a:p>
                  </a:txBody>
                  <a:tcPr/>
                </a:tc>
                <a:extLst>
                  <a:ext uri="{0D108BD9-81ED-4DB2-BD59-A6C34878D82A}">
                    <a16:rowId xmlns:a16="http://schemas.microsoft.com/office/drawing/2014/main" val="2104260164"/>
                  </a:ext>
                </a:extLst>
              </a:tr>
              <a:tr h="524879">
                <a:tc rowSpan="3">
                  <a:txBody>
                    <a:bodyPr/>
                    <a:lstStyle/>
                    <a:p>
                      <a:r>
                        <a:rPr lang="es-MX" dirty="0"/>
                        <a:t>Text Pla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strike="noStrike" kern="1200" baseline="0" dirty="0">
                          <a:solidFill>
                            <a:schemeClr val="dk1"/>
                          </a:solidFill>
                        </a:rPr>
                        <a:t>SET SHOWPLAN_TEXT ON	</a:t>
                      </a:r>
                      <a:endParaRPr lang="en-US" sz="1800" b="0" i="0" u="none" strike="noStrike" kern="1200" baseline="0" dirty="0">
                        <a:solidFill>
                          <a:schemeClr val="dk1"/>
                        </a:solidFill>
                        <a:latin typeface="+mn-lt"/>
                        <a:ea typeface="+mn-ea"/>
                        <a:cs typeface="+mn-cs"/>
                      </a:endParaRPr>
                    </a:p>
                  </a:txBody>
                  <a:tcPr/>
                </a:tc>
                <a:tc>
                  <a:txBody>
                    <a:bodyPr/>
                    <a:lstStyle/>
                    <a:p>
                      <a:r>
                        <a:rPr lang="es-MX" dirty="0"/>
                        <a:t>No</a:t>
                      </a:r>
                    </a:p>
                  </a:txBody>
                  <a:tcPr/>
                </a:tc>
                <a:tc>
                  <a:txBody>
                    <a:bodyPr/>
                    <a:lstStyle/>
                    <a:p>
                      <a:r>
                        <a:rPr lang="es-MX" dirty="0"/>
                        <a:t>No</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303906350"/>
                  </a:ext>
                </a:extLst>
              </a:tr>
              <a:tr h="524879">
                <a:tc vMerge="1">
                  <a:txBody>
                    <a:bodyPr/>
                    <a:lstStyle/>
                    <a:p>
                      <a:endParaRPr lang="en-US" dirty="0"/>
                    </a:p>
                  </a:txBody>
                  <a:tcPr/>
                </a:tc>
                <a:tc>
                  <a:txBody>
                    <a:bodyPr/>
                    <a:lstStyle/>
                    <a:p>
                      <a:r>
                        <a:rPr lang="en-US" dirty="0"/>
                        <a:t>SET SHOWPLAN_ALL ON</a:t>
                      </a:r>
                    </a:p>
                  </a:txBody>
                  <a:tcPr/>
                </a:tc>
                <a:tc>
                  <a:txBody>
                    <a:bodyPr/>
                    <a:lstStyle/>
                    <a:p>
                      <a:r>
                        <a:rPr lang="es-MX" dirty="0"/>
                        <a:t>No</a:t>
                      </a:r>
                      <a:endParaRPr lang="en-US" dirty="0"/>
                    </a:p>
                  </a:txBody>
                  <a:tcPr/>
                </a:tc>
                <a:tc>
                  <a:txBody>
                    <a:bodyPr/>
                    <a:lstStyle/>
                    <a:p>
                      <a:r>
                        <a:rPr lang="es-MX" dirty="0"/>
                        <a:t>Yes</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214553178"/>
                  </a:ext>
                </a:extLst>
              </a:tr>
              <a:tr h="524879">
                <a:tc vMerge="1">
                  <a:txBody>
                    <a:bodyPr/>
                    <a:lstStyle/>
                    <a:p>
                      <a:endParaRPr lang="en-US" dirty="0"/>
                    </a:p>
                  </a:txBody>
                  <a:tcPr/>
                </a:tc>
                <a:tc>
                  <a:txBody>
                    <a:bodyPr/>
                    <a:lstStyle/>
                    <a:p>
                      <a:r>
                        <a:rPr lang="en-US" dirty="0"/>
                        <a:t>SET STATISTICS PROFILE ON</a:t>
                      </a:r>
                    </a:p>
                  </a:txBody>
                  <a:tcPr/>
                </a:tc>
                <a:tc>
                  <a:txBody>
                    <a:bodyPr/>
                    <a:lstStyle/>
                    <a:p>
                      <a:r>
                        <a:rPr lang="es-MX" dirty="0"/>
                        <a:t>Yes</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extLst>
                  <a:ext uri="{0D108BD9-81ED-4DB2-BD59-A6C34878D82A}">
                    <a16:rowId xmlns:a16="http://schemas.microsoft.com/office/drawing/2014/main" val="2120074511"/>
                  </a:ext>
                </a:extLst>
              </a:tr>
              <a:tr h="524879">
                <a:tc rowSpan="2">
                  <a:txBody>
                    <a:bodyPr/>
                    <a:lstStyle/>
                    <a:p>
                      <a:r>
                        <a:rPr lang="es-MX" dirty="0"/>
                        <a:t>XML Plan</a:t>
                      </a:r>
                      <a:endParaRPr lang="en-US" dirty="0"/>
                    </a:p>
                  </a:txBody>
                  <a:tcPr/>
                </a:tc>
                <a:tc>
                  <a:txBody>
                    <a:bodyPr/>
                    <a:lstStyle/>
                    <a:p>
                      <a:r>
                        <a:rPr lang="en-US" dirty="0"/>
                        <a:t>SET SHOWPLAN_XML ON</a:t>
                      </a:r>
                    </a:p>
                  </a:txBody>
                  <a:tcPr/>
                </a:tc>
                <a:tc>
                  <a:txBody>
                    <a:bodyPr/>
                    <a:lstStyle/>
                    <a:p>
                      <a:r>
                        <a:rPr lang="es-MX" dirty="0"/>
                        <a:t>No</a:t>
                      </a:r>
                      <a:endParaRPr lang="en-US" dirty="0"/>
                    </a:p>
                  </a:txBody>
                  <a:tcPr/>
                </a:tc>
                <a:tc>
                  <a:txBody>
                    <a:bodyPr/>
                    <a:lstStyle/>
                    <a:p>
                      <a:r>
                        <a:rPr lang="es-MX" dirty="0"/>
                        <a:t>Yes</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3006583987"/>
                  </a:ext>
                </a:extLst>
              </a:tr>
              <a:tr h="524879">
                <a:tc vMerge="1">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strike="noStrike" kern="1200" baseline="0" dirty="0">
                          <a:solidFill>
                            <a:schemeClr val="dk1"/>
                          </a:solidFill>
                        </a:rPr>
                        <a:t>SET STATISTICS PROFILE XML</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extLst>
                  <a:ext uri="{0D108BD9-81ED-4DB2-BD59-A6C34878D82A}">
                    <a16:rowId xmlns:a16="http://schemas.microsoft.com/office/drawing/2014/main" val="737347604"/>
                  </a:ext>
                </a:extLst>
              </a:tr>
            </a:tbl>
          </a:graphicData>
        </a:graphic>
      </p:graphicFrame>
    </p:spTree>
    <p:extLst>
      <p:ext uri="{BB962C8B-B14F-4D97-AF65-F5344CB8AC3E}">
        <p14:creationId xmlns:p14="http://schemas.microsoft.com/office/powerpoint/2010/main" val="1102400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29BD118-B9CA-426C-8EFD-5A194B3BCD4B}"/>
              </a:ext>
            </a:extLst>
          </p:cNvPr>
          <p:cNvPicPr>
            <a:picLocks noChangeAspect="1"/>
          </p:cNvPicPr>
          <p:nvPr/>
        </p:nvPicPr>
        <p:blipFill>
          <a:blip r:embed="rId3"/>
          <a:stretch>
            <a:fillRect/>
          </a:stretch>
        </p:blipFill>
        <p:spPr>
          <a:xfrm>
            <a:off x="530588" y="1780576"/>
            <a:ext cx="10420107" cy="4890879"/>
          </a:xfrm>
          <a:prstGeom prst="rect">
            <a:avLst/>
          </a:prstGeom>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Execution Flow</a:t>
            </a:r>
            <a:endParaRPr lang="en-US" dirty="0"/>
          </a:p>
        </p:txBody>
      </p:sp>
      <p:sp>
        <p:nvSpPr>
          <p:cNvPr id="5" name="Text Placeholder 8">
            <a:extLst>
              <a:ext uri="{FF2B5EF4-FFF2-40B4-BE49-F238E27FC236}">
                <a16:creationId xmlns:a16="http://schemas.microsoft.com/office/drawing/2014/main" id="{7FE2D393-5B11-4ED9-A753-3242CAC2B5B2}"/>
              </a:ext>
            </a:extLst>
          </p:cNvPr>
          <p:cNvSpPr txBox="1">
            <a:spLocks/>
          </p:cNvSpPr>
          <p:nvPr/>
        </p:nvSpPr>
        <p:spPr>
          <a:xfrm>
            <a:off x="402336" y="1749552"/>
            <a:ext cx="11173968" cy="4956048"/>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endParaRPr lang="en-US" dirty="0"/>
          </a:p>
          <a:p>
            <a:endParaRPr lang="en-US" dirty="0"/>
          </a:p>
        </p:txBody>
      </p:sp>
      <p:sp>
        <p:nvSpPr>
          <p:cNvPr id="7" name="Rectangle 6">
            <a:extLst>
              <a:ext uri="{FF2B5EF4-FFF2-40B4-BE49-F238E27FC236}">
                <a16:creationId xmlns:a16="http://schemas.microsoft.com/office/drawing/2014/main" id="{439CE905-1E40-4DF4-AAB7-B4708DE39F71}"/>
              </a:ext>
            </a:extLst>
          </p:cNvPr>
          <p:cNvSpPr/>
          <p:nvPr/>
        </p:nvSpPr>
        <p:spPr>
          <a:xfrm>
            <a:off x="8551682" y="2955541"/>
            <a:ext cx="2376264" cy="1137153"/>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8" name="Rectangle 7">
            <a:extLst>
              <a:ext uri="{FF2B5EF4-FFF2-40B4-BE49-F238E27FC236}">
                <a16:creationId xmlns:a16="http://schemas.microsoft.com/office/drawing/2014/main" id="{9642542A-325A-444C-943B-6EBAEF3A41AC}"/>
              </a:ext>
            </a:extLst>
          </p:cNvPr>
          <p:cNvSpPr/>
          <p:nvPr/>
        </p:nvSpPr>
        <p:spPr>
          <a:xfrm>
            <a:off x="8551682" y="1736858"/>
            <a:ext cx="2376264" cy="1137153"/>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0" name="Right Arrow 32">
            <a:extLst>
              <a:ext uri="{FF2B5EF4-FFF2-40B4-BE49-F238E27FC236}">
                <a16:creationId xmlns:a16="http://schemas.microsoft.com/office/drawing/2014/main" id="{62D72855-10C5-44D0-9958-4F6E50B4ADA5}"/>
              </a:ext>
            </a:extLst>
          </p:cNvPr>
          <p:cNvSpPr/>
          <p:nvPr/>
        </p:nvSpPr>
        <p:spPr>
          <a:xfrm rot="10800000">
            <a:off x="11017691" y="3058549"/>
            <a:ext cx="792088" cy="144016"/>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1" name="TextBox 10">
            <a:extLst>
              <a:ext uri="{FF2B5EF4-FFF2-40B4-BE49-F238E27FC236}">
                <a16:creationId xmlns:a16="http://schemas.microsoft.com/office/drawing/2014/main" id="{2224CD71-60DA-4317-87E5-72D450424779}"/>
              </a:ext>
            </a:extLst>
          </p:cNvPr>
          <p:cNvSpPr txBox="1"/>
          <p:nvPr/>
        </p:nvSpPr>
        <p:spPr>
          <a:xfrm>
            <a:off x="10948342" y="1993372"/>
            <a:ext cx="811441" cy="646331"/>
          </a:xfrm>
          <a:prstGeom prst="rect">
            <a:avLst/>
          </a:prstGeom>
          <a:noFill/>
        </p:spPr>
        <p:txBody>
          <a:bodyPr wrap="none" rtlCol="0">
            <a:spAutoFit/>
          </a:bodyPr>
          <a:lstStyle/>
          <a:p>
            <a:pPr>
              <a:buSzPct val="110000"/>
            </a:pPr>
            <a:r>
              <a:rPr lang="en-AU" b="1" dirty="0">
                <a:solidFill>
                  <a:srgbClr val="385593"/>
                </a:solidFill>
                <a:latin typeface="Segoe UI Light" panose="020B0502040204020203" pitchFamily="34" charset="0"/>
                <a:cs typeface="Segoe UI Light" panose="020B0502040204020203" pitchFamily="34" charset="0"/>
              </a:rPr>
              <a:t>Outer </a:t>
            </a:r>
          </a:p>
          <a:p>
            <a:pPr>
              <a:buSzPct val="110000"/>
            </a:pPr>
            <a:r>
              <a:rPr lang="en-AU" b="1" dirty="0">
                <a:solidFill>
                  <a:srgbClr val="385593"/>
                </a:solidFill>
                <a:latin typeface="Segoe UI Light" panose="020B0502040204020203" pitchFamily="34" charset="0"/>
                <a:cs typeface="Segoe UI Light" panose="020B0502040204020203" pitchFamily="34" charset="0"/>
              </a:rPr>
              <a:t>Table</a:t>
            </a:r>
            <a:endParaRPr lang="en-AU" b="1" dirty="0">
              <a:solidFill>
                <a:prstClr val="white"/>
              </a:solidFill>
              <a:latin typeface="Segoe UI Light" panose="020B0502040204020203" pitchFamily="34" charset="0"/>
              <a:cs typeface="Segoe UI Light" panose="020B0502040204020203" pitchFamily="34" charset="0"/>
            </a:endParaRPr>
          </a:p>
        </p:txBody>
      </p:sp>
      <p:sp>
        <p:nvSpPr>
          <p:cNvPr id="12" name="TextBox 11">
            <a:extLst>
              <a:ext uri="{FF2B5EF4-FFF2-40B4-BE49-F238E27FC236}">
                <a16:creationId xmlns:a16="http://schemas.microsoft.com/office/drawing/2014/main" id="{B21B801E-94C2-416D-B6EF-30A009D6BABB}"/>
              </a:ext>
            </a:extLst>
          </p:cNvPr>
          <p:cNvSpPr txBox="1"/>
          <p:nvPr/>
        </p:nvSpPr>
        <p:spPr>
          <a:xfrm>
            <a:off x="10978831" y="3138030"/>
            <a:ext cx="763952" cy="646331"/>
          </a:xfrm>
          <a:prstGeom prst="rect">
            <a:avLst/>
          </a:prstGeom>
          <a:noFill/>
        </p:spPr>
        <p:txBody>
          <a:bodyPr wrap="square" rtlCol="0">
            <a:spAutoFit/>
          </a:bodyPr>
          <a:lstStyle/>
          <a:p>
            <a:pPr>
              <a:buSzPct val="110000"/>
            </a:pPr>
            <a:r>
              <a:rPr lang="en-AU" b="1" dirty="0">
                <a:solidFill>
                  <a:srgbClr val="334C85"/>
                </a:solidFill>
                <a:latin typeface="Segoe UI Light" panose="020B0502040204020203" pitchFamily="34" charset="0"/>
                <a:cs typeface="Segoe UI Light" panose="020B0502040204020203" pitchFamily="34" charset="0"/>
              </a:rPr>
              <a:t>Inner table</a:t>
            </a:r>
          </a:p>
        </p:txBody>
      </p:sp>
      <p:sp>
        <p:nvSpPr>
          <p:cNvPr id="14" name="TextBox 13">
            <a:extLst>
              <a:ext uri="{FF2B5EF4-FFF2-40B4-BE49-F238E27FC236}">
                <a16:creationId xmlns:a16="http://schemas.microsoft.com/office/drawing/2014/main" id="{E35CE312-6ED7-44DD-8D1B-615F04F0D4D1}"/>
              </a:ext>
            </a:extLst>
          </p:cNvPr>
          <p:cNvSpPr txBox="1"/>
          <p:nvPr/>
        </p:nvSpPr>
        <p:spPr>
          <a:xfrm>
            <a:off x="10661526" y="1779179"/>
            <a:ext cx="266420" cy="369332"/>
          </a:xfrm>
          <a:prstGeom prst="rect">
            <a:avLst/>
          </a:prstGeom>
          <a:noFill/>
        </p:spPr>
        <p:txBody>
          <a:bodyPr wrap="none" rtlCol="0">
            <a:spAutoFit/>
          </a:bodyPr>
          <a:lstStyle/>
          <a:p>
            <a:pPr>
              <a:buSzPct val="110000"/>
            </a:pPr>
            <a:r>
              <a:rPr lang="en-AU" dirty="0">
                <a:solidFill>
                  <a:srgbClr val="334C85"/>
                </a:solidFill>
                <a:latin typeface="Segoe UI Light" panose="020B0502040204020203" pitchFamily="34" charset="0"/>
              </a:rPr>
              <a:t>1</a:t>
            </a:r>
          </a:p>
        </p:txBody>
      </p:sp>
      <p:sp>
        <p:nvSpPr>
          <p:cNvPr id="15" name="TextBox 14">
            <a:extLst>
              <a:ext uri="{FF2B5EF4-FFF2-40B4-BE49-F238E27FC236}">
                <a16:creationId xmlns:a16="http://schemas.microsoft.com/office/drawing/2014/main" id="{75366D26-DDCF-4B22-A6CC-1086C4A66DDF}"/>
              </a:ext>
            </a:extLst>
          </p:cNvPr>
          <p:cNvSpPr txBox="1"/>
          <p:nvPr/>
        </p:nvSpPr>
        <p:spPr>
          <a:xfrm>
            <a:off x="10660954" y="2957131"/>
            <a:ext cx="235646" cy="379927"/>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2</a:t>
            </a:r>
          </a:p>
        </p:txBody>
      </p:sp>
      <p:sp>
        <p:nvSpPr>
          <p:cNvPr id="16" name="Rectangle 15">
            <a:extLst>
              <a:ext uri="{FF2B5EF4-FFF2-40B4-BE49-F238E27FC236}">
                <a16:creationId xmlns:a16="http://schemas.microsoft.com/office/drawing/2014/main" id="{76CD0A62-E722-4033-8C2A-35930BC70C38}"/>
              </a:ext>
            </a:extLst>
          </p:cNvPr>
          <p:cNvSpPr/>
          <p:nvPr/>
        </p:nvSpPr>
        <p:spPr>
          <a:xfrm>
            <a:off x="4876800" y="1736857"/>
            <a:ext cx="6051146" cy="2359884"/>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7" name="TextBox 16">
            <a:extLst>
              <a:ext uri="{FF2B5EF4-FFF2-40B4-BE49-F238E27FC236}">
                <a16:creationId xmlns:a16="http://schemas.microsoft.com/office/drawing/2014/main" id="{01F8DCA1-0A1C-4589-A114-F7260B8D3605}"/>
              </a:ext>
            </a:extLst>
          </p:cNvPr>
          <p:cNvSpPr txBox="1"/>
          <p:nvPr/>
        </p:nvSpPr>
        <p:spPr>
          <a:xfrm>
            <a:off x="5428789" y="2092824"/>
            <a:ext cx="386463"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3</a:t>
            </a:r>
          </a:p>
        </p:txBody>
      </p:sp>
      <p:sp>
        <p:nvSpPr>
          <p:cNvPr id="18" name="Rectangle 17">
            <a:extLst>
              <a:ext uri="{FF2B5EF4-FFF2-40B4-BE49-F238E27FC236}">
                <a16:creationId xmlns:a16="http://schemas.microsoft.com/office/drawing/2014/main" id="{91ADEC72-9D40-40A7-9F63-13F01E33DF64}"/>
              </a:ext>
            </a:extLst>
          </p:cNvPr>
          <p:cNvSpPr/>
          <p:nvPr/>
        </p:nvSpPr>
        <p:spPr>
          <a:xfrm>
            <a:off x="4876800" y="4174224"/>
            <a:ext cx="6051146" cy="1121557"/>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9" name="TextBox 18">
            <a:extLst>
              <a:ext uri="{FF2B5EF4-FFF2-40B4-BE49-F238E27FC236}">
                <a16:creationId xmlns:a16="http://schemas.microsoft.com/office/drawing/2014/main" id="{8C0223B9-0C0B-4D03-835C-BB276F2AFE6A}"/>
              </a:ext>
            </a:extLst>
          </p:cNvPr>
          <p:cNvSpPr txBox="1"/>
          <p:nvPr/>
        </p:nvSpPr>
        <p:spPr>
          <a:xfrm>
            <a:off x="4867145" y="4186926"/>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4</a:t>
            </a:r>
          </a:p>
        </p:txBody>
      </p:sp>
      <p:sp>
        <p:nvSpPr>
          <p:cNvPr id="21" name="Rectangle 20">
            <a:extLst>
              <a:ext uri="{FF2B5EF4-FFF2-40B4-BE49-F238E27FC236}">
                <a16:creationId xmlns:a16="http://schemas.microsoft.com/office/drawing/2014/main" id="{59BC122F-56A4-4744-ACD8-1FA161AF9637}"/>
              </a:ext>
            </a:extLst>
          </p:cNvPr>
          <p:cNvSpPr/>
          <p:nvPr/>
        </p:nvSpPr>
        <p:spPr>
          <a:xfrm>
            <a:off x="2828242" y="1734605"/>
            <a:ext cx="8120099" cy="3561176"/>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22" name="TextBox 21">
            <a:extLst>
              <a:ext uri="{FF2B5EF4-FFF2-40B4-BE49-F238E27FC236}">
                <a16:creationId xmlns:a16="http://schemas.microsoft.com/office/drawing/2014/main" id="{F261C6AE-C9E6-4EA3-9806-760F4DF13F16}"/>
              </a:ext>
            </a:extLst>
          </p:cNvPr>
          <p:cNvSpPr txBox="1"/>
          <p:nvPr/>
        </p:nvSpPr>
        <p:spPr>
          <a:xfrm>
            <a:off x="2892315" y="1808706"/>
            <a:ext cx="386463"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5</a:t>
            </a:r>
          </a:p>
        </p:txBody>
      </p:sp>
      <p:sp>
        <p:nvSpPr>
          <p:cNvPr id="23" name="Rectangle 22">
            <a:extLst>
              <a:ext uri="{FF2B5EF4-FFF2-40B4-BE49-F238E27FC236}">
                <a16:creationId xmlns:a16="http://schemas.microsoft.com/office/drawing/2014/main" id="{1481159C-E664-4223-BE03-5DA2A61AF604}"/>
              </a:ext>
            </a:extLst>
          </p:cNvPr>
          <p:cNvSpPr/>
          <p:nvPr/>
        </p:nvSpPr>
        <p:spPr>
          <a:xfrm>
            <a:off x="2828242" y="5373263"/>
            <a:ext cx="2600547" cy="1298191"/>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24" name="TextBox 23">
            <a:extLst>
              <a:ext uri="{FF2B5EF4-FFF2-40B4-BE49-F238E27FC236}">
                <a16:creationId xmlns:a16="http://schemas.microsoft.com/office/drawing/2014/main" id="{65080DA3-54A4-41FB-B39B-9A2782630F40}"/>
              </a:ext>
            </a:extLst>
          </p:cNvPr>
          <p:cNvSpPr txBox="1"/>
          <p:nvPr/>
        </p:nvSpPr>
        <p:spPr>
          <a:xfrm>
            <a:off x="2819400" y="5329926"/>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6</a:t>
            </a:r>
          </a:p>
        </p:txBody>
      </p:sp>
      <p:sp>
        <p:nvSpPr>
          <p:cNvPr id="33" name="TextBox 32">
            <a:extLst>
              <a:ext uri="{FF2B5EF4-FFF2-40B4-BE49-F238E27FC236}">
                <a16:creationId xmlns:a16="http://schemas.microsoft.com/office/drawing/2014/main" id="{09C0E520-A9B3-4997-A27D-0B17F6B00BB8}"/>
              </a:ext>
            </a:extLst>
          </p:cNvPr>
          <p:cNvSpPr txBox="1"/>
          <p:nvPr/>
        </p:nvSpPr>
        <p:spPr>
          <a:xfrm>
            <a:off x="4876800" y="1736858"/>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3</a:t>
            </a:r>
          </a:p>
        </p:txBody>
      </p:sp>
      <p:sp>
        <p:nvSpPr>
          <p:cNvPr id="34" name="Right Arrow 32">
            <a:extLst>
              <a:ext uri="{FF2B5EF4-FFF2-40B4-BE49-F238E27FC236}">
                <a16:creationId xmlns:a16="http://schemas.microsoft.com/office/drawing/2014/main" id="{0F51054F-0789-402B-A5ED-4665F356CAFE}"/>
              </a:ext>
            </a:extLst>
          </p:cNvPr>
          <p:cNvSpPr/>
          <p:nvPr/>
        </p:nvSpPr>
        <p:spPr>
          <a:xfrm rot="10800000">
            <a:off x="10997428" y="1869282"/>
            <a:ext cx="792088" cy="144016"/>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35" name="Right Arrow 30">
            <a:extLst>
              <a:ext uri="{FF2B5EF4-FFF2-40B4-BE49-F238E27FC236}">
                <a16:creationId xmlns:a16="http://schemas.microsoft.com/office/drawing/2014/main" id="{E82C582F-9E37-4CA1-87E3-276BF1DE4A34}"/>
              </a:ext>
            </a:extLst>
          </p:cNvPr>
          <p:cNvSpPr/>
          <p:nvPr/>
        </p:nvSpPr>
        <p:spPr>
          <a:xfrm rot="10800000">
            <a:off x="655636" y="1233889"/>
            <a:ext cx="10645900" cy="360040"/>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081358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p:bldP spid="12" grpId="0"/>
      <p:bldP spid="14" grpId="0"/>
      <p:bldP spid="15" grpId="0"/>
      <p:bldP spid="16" grpId="0" animBg="1"/>
      <p:bldP spid="18" grpId="0" animBg="1"/>
      <p:bldP spid="19" grpId="0"/>
      <p:bldP spid="21" grpId="0" animBg="1"/>
      <p:bldP spid="22" grpId="0"/>
      <p:bldP spid="23" grpId="0" animBg="1"/>
      <p:bldP spid="24" grpId="0"/>
      <p:bldP spid="33" grpId="0"/>
      <p:bldP spid="3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Data flow between the operators and statistical data of each operator</a:t>
            </a:r>
          </a:p>
        </p:txBody>
      </p:sp>
      <p:pic>
        <p:nvPicPr>
          <p:cNvPr id="4" name="Picture 3">
            <a:extLst>
              <a:ext uri="{FF2B5EF4-FFF2-40B4-BE49-F238E27FC236}">
                <a16:creationId xmlns:a16="http://schemas.microsoft.com/office/drawing/2014/main" id="{67624C2C-33CD-4095-A586-2D4F4782AAFE}"/>
              </a:ext>
            </a:extLst>
          </p:cNvPr>
          <p:cNvPicPr>
            <a:picLocks noChangeAspect="1"/>
          </p:cNvPicPr>
          <p:nvPr/>
        </p:nvPicPr>
        <p:blipFill rotWithShape="1">
          <a:blip r:embed="rId3"/>
          <a:srcRect l="18430" t="894"/>
          <a:stretch/>
        </p:blipFill>
        <p:spPr>
          <a:xfrm>
            <a:off x="1371600" y="1974410"/>
            <a:ext cx="3634897" cy="4563550"/>
          </a:xfrm>
          <a:prstGeom prst="rect">
            <a:avLst/>
          </a:prstGeom>
        </p:spPr>
      </p:pic>
      <p:pic>
        <p:nvPicPr>
          <p:cNvPr id="6" name="Picture 5">
            <a:extLst>
              <a:ext uri="{FF2B5EF4-FFF2-40B4-BE49-F238E27FC236}">
                <a16:creationId xmlns:a16="http://schemas.microsoft.com/office/drawing/2014/main" id="{577A602D-1619-438A-99E3-87626B8E4208}"/>
              </a:ext>
            </a:extLst>
          </p:cNvPr>
          <p:cNvPicPr>
            <a:picLocks noChangeAspect="1"/>
          </p:cNvPicPr>
          <p:nvPr/>
        </p:nvPicPr>
        <p:blipFill rotWithShape="1">
          <a:blip r:embed="rId4"/>
          <a:srcRect l="29591" t="6853" r="-934" b="-1652"/>
          <a:stretch/>
        </p:blipFill>
        <p:spPr>
          <a:xfrm>
            <a:off x="5943600" y="1872105"/>
            <a:ext cx="4552950" cy="2763052"/>
          </a:xfrm>
          <a:prstGeom prst="rect">
            <a:avLst/>
          </a:prstGeom>
        </p:spPr>
      </p:pic>
      <p:sp>
        <p:nvSpPr>
          <p:cNvPr id="27" name="Content Placeholder 3">
            <a:extLst>
              <a:ext uri="{FF2B5EF4-FFF2-40B4-BE49-F238E27FC236}">
                <a16:creationId xmlns:a16="http://schemas.microsoft.com/office/drawing/2014/main" id="{D6223C16-136D-4944-BBF1-6B612D676766}"/>
              </a:ext>
            </a:extLst>
          </p:cNvPr>
          <p:cNvSpPr txBox="1">
            <a:spLocks/>
          </p:cNvSpPr>
          <p:nvPr/>
        </p:nvSpPr>
        <p:spPr>
          <a:xfrm>
            <a:off x="1535667" y="1553725"/>
            <a:ext cx="3306762" cy="461666"/>
          </a:xfrm>
          <a:prstGeom prst="rect">
            <a:avLst/>
          </a:prstGeom>
        </p:spPr>
        <p:txBody>
          <a:bodyPr vert="horz" lIns="0" tIns="0" rIns="0" bIns="0" rtlCol="0">
            <a:normAutofit fontScale="77500" lnSpcReduction="20000"/>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lgn="ctr">
              <a:buNone/>
            </a:pPr>
            <a:r>
              <a:rPr lang="en-US" dirty="0"/>
              <a:t>Statistical data for the operator</a:t>
            </a:r>
          </a:p>
        </p:txBody>
      </p:sp>
      <p:sp>
        <p:nvSpPr>
          <p:cNvPr id="28" name="Content Placeholder 3">
            <a:extLst>
              <a:ext uri="{FF2B5EF4-FFF2-40B4-BE49-F238E27FC236}">
                <a16:creationId xmlns:a16="http://schemas.microsoft.com/office/drawing/2014/main" id="{F979CF76-1DF3-4F0F-9E36-E82715E9129A}"/>
              </a:ext>
            </a:extLst>
          </p:cNvPr>
          <p:cNvSpPr txBox="1">
            <a:spLocks/>
          </p:cNvSpPr>
          <p:nvPr/>
        </p:nvSpPr>
        <p:spPr>
          <a:xfrm>
            <a:off x="6566694" y="1553725"/>
            <a:ext cx="3306762" cy="461666"/>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lgn="ctr">
              <a:lnSpc>
                <a:spcPct val="80000"/>
              </a:lnSpc>
              <a:buNone/>
            </a:pPr>
            <a:r>
              <a:rPr lang="en-US" sz="1900" dirty="0"/>
              <a:t>Data flow statistics</a:t>
            </a:r>
          </a:p>
        </p:txBody>
      </p:sp>
    </p:spTree>
    <p:extLst>
      <p:ext uri="{BB962C8B-B14F-4D97-AF65-F5344CB8AC3E}">
        <p14:creationId xmlns:p14="http://schemas.microsoft.com/office/powerpoint/2010/main" val="33639900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Properties sheet</a:t>
            </a:r>
          </a:p>
        </p:txBody>
      </p:sp>
      <p:pic>
        <p:nvPicPr>
          <p:cNvPr id="5" name="Picture 4">
            <a:extLst>
              <a:ext uri="{FF2B5EF4-FFF2-40B4-BE49-F238E27FC236}">
                <a16:creationId xmlns:a16="http://schemas.microsoft.com/office/drawing/2014/main" id="{CF9DCC56-B0B2-4004-BAED-B8DAC74A6FFC}"/>
              </a:ext>
            </a:extLst>
          </p:cNvPr>
          <p:cNvPicPr>
            <a:picLocks noChangeAspect="1"/>
          </p:cNvPicPr>
          <p:nvPr/>
        </p:nvPicPr>
        <p:blipFill>
          <a:blip r:embed="rId3"/>
          <a:stretch>
            <a:fillRect/>
          </a:stretch>
        </p:blipFill>
        <p:spPr>
          <a:xfrm>
            <a:off x="655637" y="1447800"/>
            <a:ext cx="6638925" cy="4822029"/>
          </a:xfrm>
          <a:prstGeom prst="rect">
            <a:avLst/>
          </a:prstGeom>
        </p:spPr>
      </p:pic>
      <p:sp>
        <p:nvSpPr>
          <p:cNvPr id="8" name="Rectangle 7">
            <a:extLst>
              <a:ext uri="{FF2B5EF4-FFF2-40B4-BE49-F238E27FC236}">
                <a16:creationId xmlns:a16="http://schemas.microsoft.com/office/drawing/2014/main" id="{D4E53F4A-1426-4587-A994-2539692BA5CD}"/>
              </a:ext>
            </a:extLst>
          </p:cNvPr>
          <p:cNvSpPr/>
          <p:nvPr/>
        </p:nvSpPr>
        <p:spPr>
          <a:xfrm>
            <a:off x="7620000" y="1447800"/>
            <a:ext cx="4038600" cy="5262979"/>
          </a:xfrm>
          <a:prstGeom prst="rect">
            <a:avLst/>
          </a:prstGeom>
        </p:spPr>
        <p:txBody>
          <a:bodyPr wrap="square">
            <a:spAutoFit/>
          </a:bodyPr>
          <a:lstStyle/>
          <a:p>
            <a:r>
              <a:rPr lang="en-US" sz="2400" dirty="0"/>
              <a:t>Management Studio Properties sheet includes even more detailed information about each operator and about the overall query plan. </a:t>
            </a:r>
          </a:p>
          <a:p>
            <a:endParaRPr lang="en-US" sz="2400" dirty="0"/>
          </a:p>
          <a:p>
            <a:r>
              <a:rPr lang="en-US" sz="2400" dirty="0"/>
              <a:t>Use the most recent version of Management Studio as every new version display more detailed information about the Query Plan when examining the plan in graphical mode.</a:t>
            </a:r>
          </a:p>
        </p:txBody>
      </p:sp>
    </p:spTree>
    <p:extLst>
      <p:ext uri="{BB962C8B-B14F-4D97-AF65-F5344CB8AC3E}">
        <p14:creationId xmlns:p14="http://schemas.microsoft.com/office/powerpoint/2010/main" val="5933986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Live Query Statistics</a:t>
            </a:r>
          </a:p>
        </p:txBody>
      </p:sp>
      <p:sp>
        <p:nvSpPr>
          <p:cNvPr id="8" name="Rectangle 7">
            <a:extLst>
              <a:ext uri="{FF2B5EF4-FFF2-40B4-BE49-F238E27FC236}">
                <a16:creationId xmlns:a16="http://schemas.microsoft.com/office/drawing/2014/main" id="{D4E53F4A-1426-4587-A994-2539692BA5CD}"/>
              </a:ext>
            </a:extLst>
          </p:cNvPr>
          <p:cNvSpPr/>
          <p:nvPr/>
        </p:nvSpPr>
        <p:spPr>
          <a:xfrm>
            <a:off x="533400" y="1447800"/>
            <a:ext cx="3733800" cy="4801314"/>
          </a:xfrm>
          <a:prstGeom prst="rect">
            <a:avLst/>
          </a:prstGeom>
        </p:spPr>
        <p:txBody>
          <a:bodyPr wrap="square">
            <a:spAutoFit/>
          </a:bodyPr>
          <a:lstStyle/>
          <a:p>
            <a:r>
              <a:rPr lang="en-US" dirty="0"/>
              <a:t>View CPU/memory usage, execution time, and query progress</a:t>
            </a:r>
          </a:p>
          <a:p>
            <a:endParaRPr lang="en-US" dirty="0"/>
          </a:p>
          <a:p>
            <a:r>
              <a:rPr lang="en-US" dirty="0"/>
              <a:t>Allows drill down to live operator-level statistics, such as:</a:t>
            </a:r>
          </a:p>
          <a:p>
            <a:pPr marL="285750" indent="-285750">
              <a:buFont typeface="Arial" panose="020B0604020202020204" pitchFamily="34" charset="0"/>
              <a:buChar char="•"/>
            </a:pPr>
            <a:r>
              <a:rPr lang="en-US" dirty="0"/>
              <a:t>Number of generated rows</a:t>
            </a:r>
          </a:p>
          <a:p>
            <a:pPr marL="285750" indent="-285750">
              <a:buFont typeface="Arial" panose="020B0604020202020204" pitchFamily="34" charset="0"/>
              <a:buChar char="•"/>
            </a:pPr>
            <a:r>
              <a:rPr lang="en-US" dirty="0"/>
              <a:t>Elapsed time</a:t>
            </a:r>
          </a:p>
          <a:p>
            <a:pPr marL="285750" indent="-285750">
              <a:buFont typeface="Arial" panose="020B0604020202020204" pitchFamily="34" charset="0"/>
              <a:buChar char="•"/>
            </a:pPr>
            <a:r>
              <a:rPr lang="en-US" dirty="0"/>
              <a:t>Operator progress </a:t>
            </a:r>
          </a:p>
          <a:p>
            <a:pPr marL="285750" indent="-285750">
              <a:buFont typeface="Arial" panose="020B0604020202020204" pitchFamily="34" charset="0"/>
              <a:buChar char="•"/>
            </a:pPr>
            <a:r>
              <a:rPr lang="en-US" dirty="0"/>
              <a:t>Live warnings</a:t>
            </a:r>
          </a:p>
          <a:p>
            <a:pPr marL="285750" indent="-285750">
              <a:buFont typeface="Arial" panose="020B0604020202020204" pitchFamily="34" charset="0"/>
              <a:buChar char="•"/>
            </a:pPr>
            <a:endParaRPr lang="en-US" dirty="0"/>
          </a:p>
          <a:p>
            <a:r>
              <a:rPr lang="en-US" dirty="0"/>
              <a:t>This feature is primarily intended for troubleshooting purposes. </a:t>
            </a:r>
          </a:p>
          <a:p>
            <a:endParaRPr lang="en-US" dirty="0"/>
          </a:p>
          <a:p>
            <a:r>
              <a:rPr lang="en-US" dirty="0"/>
              <a:t>Using this feature can moderately slow the overall query performance.</a:t>
            </a:r>
          </a:p>
          <a:p>
            <a:pPr marL="285750" indent="-285750">
              <a:buFont typeface="Arial" panose="020B0604020202020204" pitchFamily="34" charset="0"/>
              <a:buChar char="•"/>
            </a:pPr>
            <a:endParaRPr lang="en-US" dirty="0"/>
          </a:p>
        </p:txBody>
      </p:sp>
      <p:pic>
        <p:nvPicPr>
          <p:cNvPr id="1026" name="Picture 2" descr="Live Query Stats button in showplan">
            <a:extLst>
              <a:ext uri="{FF2B5EF4-FFF2-40B4-BE49-F238E27FC236}">
                <a16:creationId xmlns:a16="http://schemas.microsoft.com/office/drawing/2014/main" id="{7BF95E3C-D2EE-4E98-95D1-748526FEC2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905000"/>
            <a:ext cx="7340856" cy="3525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0975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xecution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Notable operators</a:t>
            </a:r>
          </a:p>
        </p:txBody>
      </p:sp>
      <p:grpSp>
        <p:nvGrpSpPr>
          <p:cNvPr id="5" name="Group 4">
            <a:extLst>
              <a:ext uri="{FF2B5EF4-FFF2-40B4-BE49-F238E27FC236}">
                <a16:creationId xmlns:a16="http://schemas.microsoft.com/office/drawing/2014/main" id="{F0F7112D-E24F-4DBA-868D-469D58FB6FF7}"/>
              </a:ext>
            </a:extLst>
          </p:cNvPr>
          <p:cNvGrpSpPr/>
          <p:nvPr/>
        </p:nvGrpSpPr>
        <p:grpSpPr>
          <a:xfrm>
            <a:off x="679637" y="3266038"/>
            <a:ext cx="4887774" cy="495951"/>
            <a:chOff x="729006" y="3464155"/>
            <a:chExt cx="4887774" cy="495951"/>
          </a:xfrm>
        </p:grpSpPr>
        <p:pic>
          <p:nvPicPr>
            <p:cNvPr id="1028" name="Picture 4" descr="Clustered index scan operator icon">
              <a:extLst>
                <a:ext uri="{FF2B5EF4-FFF2-40B4-BE49-F238E27FC236}">
                  <a16:creationId xmlns:a16="http://schemas.microsoft.com/office/drawing/2014/main" id="{11D2FFA8-8159-4269-AABB-26626E73E9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006" y="3464155"/>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3">
              <a:extLst>
                <a:ext uri="{FF2B5EF4-FFF2-40B4-BE49-F238E27FC236}">
                  <a16:creationId xmlns:a16="http://schemas.microsoft.com/office/drawing/2014/main" id="{5B7DF837-0C24-42B8-928B-750588EBDEC9}"/>
                </a:ext>
              </a:extLst>
            </p:cNvPr>
            <p:cNvSpPr txBox="1">
              <a:spLocks/>
            </p:cNvSpPr>
            <p:nvPr/>
          </p:nvSpPr>
          <p:spPr>
            <a:xfrm>
              <a:off x="1455832" y="3464155"/>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Clustered index scan</a:t>
              </a:r>
            </a:p>
          </p:txBody>
        </p:sp>
      </p:grpSp>
      <p:grpSp>
        <p:nvGrpSpPr>
          <p:cNvPr id="6" name="Group 5">
            <a:extLst>
              <a:ext uri="{FF2B5EF4-FFF2-40B4-BE49-F238E27FC236}">
                <a16:creationId xmlns:a16="http://schemas.microsoft.com/office/drawing/2014/main" id="{CB3B7B55-5EE0-4DF8-A73E-B16A3A8389DF}"/>
              </a:ext>
            </a:extLst>
          </p:cNvPr>
          <p:cNvGrpSpPr/>
          <p:nvPr/>
        </p:nvGrpSpPr>
        <p:grpSpPr>
          <a:xfrm>
            <a:off x="679637" y="3974081"/>
            <a:ext cx="4887774" cy="495951"/>
            <a:chOff x="729006" y="4122998"/>
            <a:chExt cx="4887774" cy="495951"/>
          </a:xfrm>
        </p:grpSpPr>
        <p:pic>
          <p:nvPicPr>
            <p:cNvPr id="1030" name="Picture 6" descr="Clustered index seek operator icon">
              <a:extLst>
                <a:ext uri="{FF2B5EF4-FFF2-40B4-BE49-F238E27FC236}">
                  <a16:creationId xmlns:a16="http://schemas.microsoft.com/office/drawing/2014/main" id="{04594F46-8518-4FF4-B53B-6C810780F9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006" y="4122998"/>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3">
              <a:extLst>
                <a:ext uri="{FF2B5EF4-FFF2-40B4-BE49-F238E27FC236}">
                  <a16:creationId xmlns:a16="http://schemas.microsoft.com/office/drawing/2014/main" id="{AC33A00B-92E8-4F4A-A59B-2167D150465F}"/>
                </a:ext>
              </a:extLst>
            </p:cNvPr>
            <p:cNvSpPr txBox="1">
              <a:spLocks/>
            </p:cNvSpPr>
            <p:nvPr/>
          </p:nvSpPr>
          <p:spPr>
            <a:xfrm>
              <a:off x="1455832" y="4122998"/>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Clustered index seek</a:t>
              </a:r>
            </a:p>
          </p:txBody>
        </p:sp>
      </p:grpSp>
      <p:grpSp>
        <p:nvGrpSpPr>
          <p:cNvPr id="19" name="Group 18">
            <a:extLst>
              <a:ext uri="{FF2B5EF4-FFF2-40B4-BE49-F238E27FC236}">
                <a16:creationId xmlns:a16="http://schemas.microsoft.com/office/drawing/2014/main" id="{1EDC6FEC-D99A-4BA5-AB1F-9D39AEA57B40}"/>
              </a:ext>
            </a:extLst>
          </p:cNvPr>
          <p:cNvGrpSpPr/>
          <p:nvPr/>
        </p:nvGrpSpPr>
        <p:grpSpPr>
          <a:xfrm>
            <a:off x="6654868" y="2584457"/>
            <a:ext cx="4889516" cy="495951"/>
            <a:chOff x="6616684" y="2799875"/>
            <a:chExt cx="4889516" cy="495951"/>
          </a:xfrm>
        </p:grpSpPr>
        <p:pic>
          <p:nvPicPr>
            <p:cNvPr id="1034" name="Picture 10" descr="Nonclustered index scan operator icon">
              <a:extLst>
                <a:ext uri="{FF2B5EF4-FFF2-40B4-BE49-F238E27FC236}">
                  <a16:creationId xmlns:a16="http://schemas.microsoft.com/office/drawing/2014/main" id="{3E5C0A35-5AF5-4C72-B87A-845C0D7820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16684" y="2799875"/>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3">
              <a:extLst>
                <a:ext uri="{FF2B5EF4-FFF2-40B4-BE49-F238E27FC236}">
                  <a16:creationId xmlns:a16="http://schemas.microsoft.com/office/drawing/2014/main" id="{F6B21E68-22ED-42CE-A607-124E6FC9E037}"/>
                </a:ext>
              </a:extLst>
            </p:cNvPr>
            <p:cNvSpPr txBox="1">
              <a:spLocks/>
            </p:cNvSpPr>
            <p:nvPr/>
          </p:nvSpPr>
          <p:spPr>
            <a:xfrm>
              <a:off x="7345252" y="2799875"/>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Nonclustered index scan</a:t>
              </a:r>
            </a:p>
          </p:txBody>
        </p:sp>
      </p:grpSp>
      <p:grpSp>
        <p:nvGrpSpPr>
          <p:cNvPr id="21" name="Group 20">
            <a:extLst>
              <a:ext uri="{FF2B5EF4-FFF2-40B4-BE49-F238E27FC236}">
                <a16:creationId xmlns:a16="http://schemas.microsoft.com/office/drawing/2014/main" id="{6CF57884-447D-4649-989B-ECF9230514EA}"/>
              </a:ext>
            </a:extLst>
          </p:cNvPr>
          <p:cNvGrpSpPr/>
          <p:nvPr/>
        </p:nvGrpSpPr>
        <p:grpSpPr>
          <a:xfrm>
            <a:off x="6616684" y="3254148"/>
            <a:ext cx="4889516" cy="495951"/>
            <a:chOff x="6616684" y="3458059"/>
            <a:chExt cx="4889516" cy="495951"/>
          </a:xfrm>
        </p:grpSpPr>
        <p:pic>
          <p:nvPicPr>
            <p:cNvPr id="1036" name="Picture 12" descr="Nonclustered index seek operator icon">
              <a:extLst>
                <a:ext uri="{FF2B5EF4-FFF2-40B4-BE49-F238E27FC236}">
                  <a16:creationId xmlns:a16="http://schemas.microsoft.com/office/drawing/2014/main" id="{A33C7D66-DC83-4F8A-A617-968722957AF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684" y="3458059"/>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6" name="Content Placeholder 3">
              <a:extLst>
                <a:ext uri="{FF2B5EF4-FFF2-40B4-BE49-F238E27FC236}">
                  <a16:creationId xmlns:a16="http://schemas.microsoft.com/office/drawing/2014/main" id="{EB1BF4A3-52C8-480D-8FED-F6FF4CAC78E8}"/>
                </a:ext>
              </a:extLst>
            </p:cNvPr>
            <p:cNvSpPr txBox="1">
              <a:spLocks/>
            </p:cNvSpPr>
            <p:nvPr/>
          </p:nvSpPr>
          <p:spPr>
            <a:xfrm>
              <a:off x="7345252" y="345805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Nonclustered index seek</a:t>
              </a:r>
            </a:p>
          </p:txBody>
        </p:sp>
      </p:grpSp>
      <p:grpSp>
        <p:nvGrpSpPr>
          <p:cNvPr id="8" name="Group 7">
            <a:extLst>
              <a:ext uri="{FF2B5EF4-FFF2-40B4-BE49-F238E27FC236}">
                <a16:creationId xmlns:a16="http://schemas.microsoft.com/office/drawing/2014/main" id="{6AF95612-581F-407E-9087-9BB8A0426C40}"/>
              </a:ext>
            </a:extLst>
          </p:cNvPr>
          <p:cNvGrpSpPr/>
          <p:nvPr/>
        </p:nvGrpSpPr>
        <p:grpSpPr>
          <a:xfrm>
            <a:off x="679637" y="5390167"/>
            <a:ext cx="4857497" cy="495951"/>
            <a:chOff x="680026" y="5434214"/>
            <a:chExt cx="4857497" cy="495951"/>
          </a:xfrm>
        </p:grpSpPr>
        <p:pic>
          <p:nvPicPr>
            <p:cNvPr id="1040" name="Picture 16" descr="Bookmark lookup operator icon">
              <a:extLst>
                <a:ext uri="{FF2B5EF4-FFF2-40B4-BE49-F238E27FC236}">
                  <a16:creationId xmlns:a16="http://schemas.microsoft.com/office/drawing/2014/main" id="{55E7F75A-ED40-422A-977C-74663B0616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026" y="5434214"/>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3">
              <a:extLst>
                <a:ext uri="{FF2B5EF4-FFF2-40B4-BE49-F238E27FC236}">
                  <a16:creationId xmlns:a16="http://schemas.microsoft.com/office/drawing/2014/main" id="{7FFB5D7E-C651-4E65-A76B-C48470F09858}"/>
                </a:ext>
              </a:extLst>
            </p:cNvPr>
            <p:cNvSpPr txBox="1">
              <a:spLocks/>
            </p:cNvSpPr>
            <p:nvPr/>
          </p:nvSpPr>
          <p:spPr>
            <a:xfrm>
              <a:off x="1376575" y="5434214"/>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Key lookup</a:t>
              </a:r>
            </a:p>
          </p:txBody>
        </p:sp>
      </p:grpSp>
      <p:grpSp>
        <p:nvGrpSpPr>
          <p:cNvPr id="7" name="Group 6">
            <a:extLst>
              <a:ext uri="{FF2B5EF4-FFF2-40B4-BE49-F238E27FC236}">
                <a16:creationId xmlns:a16="http://schemas.microsoft.com/office/drawing/2014/main" id="{8ED64774-DC35-43D4-8EFB-E164F814D55D}"/>
              </a:ext>
            </a:extLst>
          </p:cNvPr>
          <p:cNvGrpSpPr/>
          <p:nvPr/>
        </p:nvGrpSpPr>
        <p:grpSpPr>
          <a:xfrm>
            <a:off x="679637" y="4682124"/>
            <a:ext cx="4857497" cy="495951"/>
            <a:chOff x="729006" y="4768999"/>
            <a:chExt cx="4857497" cy="495951"/>
          </a:xfrm>
        </p:grpSpPr>
        <p:pic>
          <p:nvPicPr>
            <p:cNvPr id="1038" name="Picture 14" descr="RID lookup operator icon">
              <a:extLst>
                <a:ext uri="{FF2B5EF4-FFF2-40B4-BE49-F238E27FC236}">
                  <a16:creationId xmlns:a16="http://schemas.microsoft.com/office/drawing/2014/main" id="{5C5E6286-5839-4D81-940B-CB68A66B65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9006" y="4768999"/>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8" name="Content Placeholder 3">
              <a:extLst>
                <a:ext uri="{FF2B5EF4-FFF2-40B4-BE49-F238E27FC236}">
                  <a16:creationId xmlns:a16="http://schemas.microsoft.com/office/drawing/2014/main" id="{B04BB3DC-29AA-456A-AB33-D415DFC9D159}"/>
                </a:ext>
              </a:extLst>
            </p:cNvPr>
            <p:cNvSpPr txBox="1">
              <a:spLocks/>
            </p:cNvSpPr>
            <p:nvPr/>
          </p:nvSpPr>
          <p:spPr>
            <a:xfrm>
              <a:off x="1425555" y="476899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RID lookup</a:t>
              </a:r>
            </a:p>
          </p:txBody>
        </p:sp>
      </p:grpSp>
      <p:grpSp>
        <p:nvGrpSpPr>
          <p:cNvPr id="9" name="Group 8">
            <a:extLst>
              <a:ext uri="{FF2B5EF4-FFF2-40B4-BE49-F238E27FC236}">
                <a16:creationId xmlns:a16="http://schemas.microsoft.com/office/drawing/2014/main" id="{267C3E52-AD07-43A7-982B-271DF45D09BA}"/>
              </a:ext>
            </a:extLst>
          </p:cNvPr>
          <p:cNvGrpSpPr/>
          <p:nvPr/>
        </p:nvGrpSpPr>
        <p:grpSpPr>
          <a:xfrm>
            <a:off x="679637" y="6098209"/>
            <a:ext cx="4937143" cy="594688"/>
            <a:chOff x="679637" y="6098209"/>
            <a:chExt cx="4937143" cy="594688"/>
          </a:xfrm>
        </p:grpSpPr>
        <p:pic>
          <p:nvPicPr>
            <p:cNvPr id="1042" name="Picture 18" descr="Columnstore Index Scan">
              <a:extLst>
                <a:ext uri="{FF2B5EF4-FFF2-40B4-BE49-F238E27FC236}">
                  <a16:creationId xmlns:a16="http://schemas.microsoft.com/office/drawing/2014/main" id="{A0B91962-D37F-450E-83EC-BEE4BF8D06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9637" y="6098209"/>
              <a:ext cx="594688" cy="594688"/>
            </a:xfrm>
            <a:prstGeom prst="rect">
              <a:avLst/>
            </a:prstGeom>
            <a:noFill/>
            <a:extLst>
              <a:ext uri="{909E8E84-426E-40DD-AFC4-6F175D3DCCD1}">
                <a14:hiddenFill xmlns:a14="http://schemas.microsoft.com/office/drawing/2010/main">
                  <a:solidFill>
                    <a:srgbClr val="FFFFFF"/>
                  </a:solidFill>
                </a14:hiddenFill>
              </a:ext>
            </a:extLst>
          </p:spPr>
        </p:pic>
        <p:sp>
          <p:nvSpPr>
            <p:cNvPr id="20" name="Content Placeholder 3">
              <a:extLst>
                <a:ext uri="{FF2B5EF4-FFF2-40B4-BE49-F238E27FC236}">
                  <a16:creationId xmlns:a16="http://schemas.microsoft.com/office/drawing/2014/main" id="{C321B790-A42B-4615-8886-FB1C9171170D}"/>
                </a:ext>
              </a:extLst>
            </p:cNvPr>
            <p:cNvSpPr txBox="1">
              <a:spLocks/>
            </p:cNvSpPr>
            <p:nvPr/>
          </p:nvSpPr>
          <p:spPr>
            <a:xfrm>
              <a:off x="1455832" y="609820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ColumnStore Index Scan</a:t>
              </a:r>
            </a:p>
          </p:txBody>
        </p:sp>
      </p:grpSp>
      <p:grpSp>
        <p:nvGrpSpPr>
          <p:cNvPr id="23" name="Group 22">
            <a:extLst>
              <a:ext uri="{FF2B5EF4-FFF2-40B4-BE49-F238E27FC236}">
                <a16:creationId xmlns:a16="http://schemas.microsoft.com/office/drawing/2014/main" id="{3F9E4E81-2B8D-4177-8648-201099D80467}"/>
              </a:ext>
            </a:extLst>
          </p:cNvPr>
          <p:cNvGrpSpPr/>
          <p:nvPr/>
        </p:nvGrpSpPr>
        <p:grpSpPr>
          <a:xfrm>
            <a:off x="6616684" y="3923839"/>
            <a:ext cx="4889516" cy="559989"/>
            <a:chOff x="6616684" y="4065033"/>
            <a:chExt cx="4889516" cy="559989"/>
          </a:xfrm>
        </p:grpSpPr>
        <p:pic>
          <p:nvPicPr>
            <p:cNvPr id="1044" name="Picture 20" descr="Sort operator icon">
              <a:extLst>
                <a:ext uri="{FF2B5EF4-FFF2-40B4-BE49-F238E27FC236}">
                  <a16:creationId xmlns:a16="http://schemas.microsoft.com/office/drawing/2014/main" id="{2F608A90-F0A6-48F7-9B94-BDEB28F2AD0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16684" y="4065033"/>
              <a:ext cx="559989" cy="559989"/>
            </a:xfrm>
            <a:prstGeom prst="rect">
              <a:avLst/>
            </a:prstGeom>
            <a:noFill/>
            <a:extLst>
              <a:ext uri="{909E8E84-426E-40DD-AFC4-6F175D3DCCD1}">
                <a14:hiddenFill xmlns:a14="http://schemas.microsoft.com/office/drawing/2010/main">
                  <a:solidFill>
                    <a:srgbClr val="FFFFFF"/>
                  </a:solidFill>
                </a14:hiddenFill>
              </a:ext>
            </a:extLst>
          </p:spPr>
        </p:pic>
        <p:sp>
          <p:nvSpPr>
            <p:cNvPr id="22" name="Content Placeholder 3">
              <a:extLst>
                <a:ext uri="{FF2B5EF4-FFF2-40B4-BE49-F238E27FC236}">
                  <a16:creationId xmlns:a16="http://schemas.microsoft.com/office/drawing/2014/main" id="{64A2DB2D-2637-4A54-9C7F-F159894633E7}"/>
                </a:ext>
              </a:extLst>
            </p:cNvPr>
            <p:cNvSpPr txBox="1">
              <a:spLocks/>
            </p:cNvSpPr>
            <p:nvPr/>
          </p:nvSpPr>
          <p:spPr>
            <a:xfrm>
              <a:off x="7345252" y="4065033"/>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ort</a:t>
              </a:r>
            </a:p>
          </p:txBody>
        </p:sp>
      </p:grpSp>
      <p:sp>
        <p:nvSpPr>
          <p:cNvPr id="25" name="Content Placeholder 3">
            <a:extLst>
              <a:ext uri="{FF2B5EF4-FFF2-40B4-BE49-F238E27FC236}">
                <a16:creationId xmlns:a16="http://schemas.microsoft.com/office/drawing/2014/main" id="{A0CA769B-4521-40FE-9E23-E3CEDE217E0A}"/>
              </a:ext>
            </a:extLst>
          </p:cNvPr>
          <p:cNvSpPr txBox="1">
            <a:spLocks/>
          </p:cNvSpPr>
          <p:nvPr/>
        </p:nvSpPr>
        <p:spPr>
          <a:xfrm>
            <a:off x="655638" y="1408114"/>
            <a:ext cx="10880726" cy="85416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Operators describe how SQL Server executes a query. The query optimizer uses operators to build a query plan to create the result specified in the query.</a:t>
            </a:r>
          </a:p>
        </p:txBody>
      </p:sp>
      <p:grpSp>
        <p:nvGrpSpPr>
          <p:cNvPr id="24" name="Group 23">
            <a:extLst>
              <a:ext uri="{FF2B5EF4-FFF2-40B4-BE49-F238E27FC236}">
                <a16:creationId xmlns:a16="http://schemas.microsoft.com/office/drawing/2014/main" id="{88485792-F2D9-461E-AA27-50A159161417}"/>
              </a:ext>
            </a:extLst>
          </p:cNvPr>
          <p:cNvGrpSpPr/>
          <p:nvPr/>
        </p:nvGrpSpPr>
        <p:grpSpPr>
          <a:xfrm>
            <a:off x="6616684" y="4657568"/>
            <a:ext cx="4889516" cy="533168"/>
            <a:chOff x="6616684" y="4768999"/>
            <a:chExt cx="4889516" cy="533168"/>
          </a:xfrm>
        </p:grpSpPr>
        <p:pic>
          <p:nvPicPr>
            <p:cNvPr id="28" name="Picture 27">
              <a:extLst>
                <a:ext uri="{FF2B5EF4-FFF2-40B4-BE49-F238E27FC236}">
                  <a16:creationId xmlns:a16="http://schemas.microsoft.com/office/drawing/2014/main" id="{E3E71F0F-1328-4B9B-B339-5F62F7307EE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16684" y="4768999"/>
              <a:ext cx="533168" cy="533168"/>
            </a:xfrm>
            <a:prstGeom prst="rect">
              <a:avLst/>
            </a:prstGeom>
          </p:spPr>
        </p:pic>
        <p:sp>
          <p:nvSpPr>
            <p:cNvPr id="31" name="Content Placeholder 3">
              <a:extLst>
                <a:ext uri="{FF2B5EF4-FFF2-40B4-BE49-F238E27FC236}">
                  <a16:creationId xmlns:a16="http://schemas.microsoft.com/office/drawing/2014/main" id="{97CF827F-3129-4966-941B-B55A2806656C}"/>
                </a:ext>
              </a:extLst>
            </p:cNvPr>
            <p:cNvSpPr txBox="1">
              <a:spLocks/>
            </p:cNvSpPr>
            <p:nvPr/>
          </p:nvSpPr>
          <p:spPr>
            <a:xfrm>
              <a:off x="7345252" y="476899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Table spool</a:t>
              </a:r>
            </a:p>
          </p:txBody>
        </p:sp>
      </p:grpSp>
      <p:grpSp>
        <p:nvGrpSpPr>
          <p:cNvPr id="26" name="Group 25">
            <a:extLst>
              <a:ext uri="{FF2B5EF4-FFF2-40B4-BE49-F238E27FC236}">
                <a16:creationId xmlns:a16="http://schemas.microsoft.com/office/drawing/2014/main" id="{D6472D49-011D-4162-8EEB-A9AC9FDD76A7}"/>
              </a:ext>
            </a:extLst>
          </p:cNvPr>
          <p:cNvGrpSpPr/>
          <p:nvPr/>
        </p:nvGrpSpPr>
        <p:grpSpPr>
          <a:xfrm>
            <a:off x="6616684" y="5364476"/>
            <a:ext cx="4889516" cy="533400"/>
            <a:chOff x="6616684" y="5446144"/>
            <a:chExt cx="4889516" cy="533400"/>
          </a:xfrm>
        </p:grpSpPr>
        <p:pic>
          <p:nvPicPr>
            <p:cNvPr id="27" name="Picture 2" descr="Table spool operator icon">
              <a:extLst>
                <a:ext uri="{FF2B5EF4-FFF2-40B4-BE49-F238E27FC236}">
                  <a16:creationId xmlns:a16="http://schemas.microsoft.com/office/drawing/2014/main" id="{40BDF551-8402-419C-AED0-07EA668E260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16684" y="5446144"/>
              <a:ext cx="533398" cy="533400"/>
            </a:xfrm>
            <a:prstGeom prst="rect">
              <a:avLst/>
            </a:prstGeom>
            <a:noFill/>
            <a:extLst>
              <a:ext uri="{909E8E84-426E-40DD-AFC4-6F175D3DCCD1}">
                <a14:hiddenFill xmlns:a14="http://schemas.microsoft.com/office/drawing/2010/main">
                  <a:solidFill>
                    <a:srgbClr val="FFFFFF"/>
                  </a:solidFill>
                </a14:hiddenFill>
              </a:ext>
            </a:extLst>
          </p:spPr>
        </p:pic>
        <p:sp>
          <p:nvSpPr>
            <p:cNvPr id="32" name="Content Placeholder 3">
              <a:extLst>
                <a:ext uri="{FF2B5EF4-FFF2-40B4-BE49-F238E27FC236}">
                  <a16:creationId xmlns:a16="http://schemas.microsoft.com/office/drawing/2014/main" id="{D86B479E-C635-4BC1-A62C-461B394A5888}"/>
                </a:ext>
              </a:extLst>
            </p:cNvPr>
            <p:cNvSpPr txBox="1">
              <a:spLocks/>
            </p:cNvSpPr>
            <p:nvPr/>
          </p:nvSpPr>
          <p:spPr>
            <a:xfrm>
              <a:off x="7345252" y="5446144"/>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Index spool</a:t>
              </a:r>
            </a:p>
          </p:txBody>
        </p:sp>
      </p:grpSp>
      <p:grpSp>
        <p:nvGrpSpPr>
          <p:cNvPr id="30" name="Group 29">
            <a:extLst>
              <a:ext uri="{FF2B5EF4-FFF2-40B4-BE49-F238E27FC236}">
                <a16:creationId xmlns:a16="http://schemas.microsoft.com/office/drawing/2014/main" id="{9EDF4A98-445D-4F83-9960-16985F28727D}"/>
              </a:ext>
            </a:extLst>
          </p:cNvPr>
          <p:cNvGrpSpPr/>
          <p:nvPr/>
        </p:nvGrpSpPr>
        <p:grpSpPr>
          <a:xfrm>
            <a:off x="6616684" y="6071617"/>
            <a:ext cx="4889516" cy="533400"/>
            <a:chOff x="6616684" y="6071617"/>
            <a:chExt cx="4889516" cy="533400"/>
          </a:xfrm>
        </p:grpSpPr>
        <p:pic>
          <p:nvPicPr>
            <p:cNvPr id="29" name="Picture 28">
              <a:extLst>
                <a:ext uri="{FF2B5EF4-FFF2-40B4-BE49-F238E27FC236}">
                  <a16:creationId xmlns:a16="http://schemas.microsoft.com/office/drawing/2014/main" id="{78457F7F-6403-4D74-B33C-984EBB69A75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16684" y="6071617"/>
              <a:ext cx="533400" cy="533400"/>
            </a:xfrm>
            <a:prstGeom prst="rect">
              <a:avLst/>
            </a:prstGeom>
          </p:spPr>
        </p:pic>
        <p:sp>
          <p:nvSpPr>
            <p:cNvPr id="33" name="Content Placeholder 3">
              <a:extLst>
                <a:ext uri="{FF2B5EF4-FFF2-40B4-BE49-F238E27FC236}">
                  <a16:creationId xmlns:a16="http://schemas.microsoft.com/office/drawing/2014/main" id="{0DAC354D-F668-4AD1-BB17-9233443A4DC2}"/>
                </a:ext>
              </a:extLst>
            </p:cNvPr>
            <p:cNvSpPr txBox="1">
              <a:spLocks/>
            </p:cNvSpPr>
            <p:nvPr/>
          </p:nvSpPr>
          <p:spPr>
            <a:xfrm>
              <a:off x="7345252" y="6071617"/>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tream Aggregation</a:t>
              </a:r>
            </a:p>
          </p:txBody>
        </p:sp>
      </p:grpSp>
      <p:grpSp>
        <p:nvGrpSpPr>
          <p:cNvPr id="12" name="Group 11">
            <a:extLst>
              <a:ext uri="{FF2B5EF4-FFF2-40B4-BE49-F238E27FC236}">
                <a16:creationId xmlns:a16="http://schemas.microsoft.com/office/drawing/2014/main" id="{C411CC39-74E5-4A7E-B112-4EC0D85D1F2F}"/>
              </a:ext>
            </a:extLst>
          </p:cNvPr>
          <p:cNvGrpSpPr/>
          <p:nvPr/>
        </p:nvGrpSpPr>
        <p:grpSpPr>
          <a:xfrm>
            <a:off x="679637" y="2557995"/>
            <a:ext cx="4857497" cy="495951"/>
            <a:chOff x="729006" y="2799132"/>
            <a:chExt cx="4857497" cy="495951"/>
          </a:xfrm>
        </p:grpSpPr>
        <p:pic>
          <p:nvPicPr>
            <p:cNvPr id="1032" name="Picture 8" descr="Table scan operator icon">
              <a:extLst>
                <a:ext uri="{FF2B5EF4-FFF2-40B4-BE49-F238E27FC236}">
                  <a16:creationId xmlns:a16="http://schemas.microsoft.com/office/drawing/2014/main" id="{F14E48FE-3B7E-41F9-A032-9F3CCB6F2AB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9006" y="2799132"/>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36" name="Content Placeholder 3">
              <a:extLst>
                <a:ext uri="{FF2B5EF4-FFF2-40B4-BE49-F238E27FC236}">
                  <a16:creationId xmlns:a16="http://schemas.microsoft.com/office/drawing/2014/main" id="{6E8E5B06-2C01-4810-9941-2A322AE0F461}"/>
                </a:ext>
              </a:extLst>
            </p:cNvPr>
            <p:cNvSpPr txBox="1">
              <a:spLocks/>
            </p:cNvSpPr>
            <p:nvPr/>
          </p:nvSpPr>
          <p:spPr>
            <a:xfrm>
              <a:off x="1425555" y="2799132"/>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s-MX" dirty="0"/>
                <a:t>Table</a:t>
              </a:r>
              <a:r>
                <a:rPr lang="en-US" dirty="0"/>
                <a:t> scan</a:t>
              </a:r>
            </a:p>
          </p:txBody>
        </p:sp>
      </p:grpSp>
    </p:spTree>
    <p:extLst>
      <p:ext uri="{BB962C8B-B14F-4D97-AF65-F5344CB8AC3E}">
        <p14:creationId xmlns:p14="http://schemas.microsoft.com/office/powerpoint/2010/main" val="27359261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615784" y="994005"/>
            <a:ext cx="2393293" cy="1851545"/>
          </a:xfrm>
          <a:prstGeom prst="rect">
            <a:avLst/>
          </a:prstGeom>
        </p:spPr>
      </p:pic>
      <p:sp>
        <p:nvSpPr>
          <p:cNvPr id="5" name="TextBox 4"/>
          <p:cNvSpPr txBox="1"/>
          <p:nvPr/>
        </p:nvSpPr>
        <p:spPr>
          <a:xfrm>
            <a:off x="736943" y="1266001"/>
            <a:ext cx="4700783" cy="1033982"/>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Data stored in a Heap is not stored in any order and normally does not have a Primary Key.</a:t>
            </a:r>
          </a:p>
        </p:txBody>
      </p:sp>
      <p:pic>
        <p:nvPicPr>
          <p:cNvPr id="6" name="Picture 5"/>
          <p:cNvPicPr>
            <a:picLocks noChangeAspect="1"/>
          </p:cNvPicPr>
          <p:nvPr/>
        </p:nvPicPr>
        <p:blipFill>
          <a:blip r:embed="rId3"/>
          <a:stretch>
            <a:fillRect/>
          </a:stretch>
        </p:blipFill>
        <p:spPr>
          <a:xfrm>
            <a:off x="6671887" y="2845550"/>
            <a:ext cx="4481745" cy="1464273"/>
          </a:xfrm>
          <a:prstGeom prst="rect">
            <a:avLst/>
          </a:prstGeom>
        </p:spPr>
      </p:pic>
      <p:pic>
        <p:nvPicPr>
          <p:cNvPr id="7" name="Picture 6"/>
          <p:cNvPicPr>
            <a:picLocks noChangeAspect="1"/>
          </p:cNvPicPr>
          <p:nvPr/>
        </p:nvPicPr>
        <p:blipFill>
          <a:blip r:embed="rId4"/>
          <a:stretch>
            <a:fillRect/>
          </a:stretch>
        </p:blipFill>
        <p:spPr>
          <a:xfrm>
            <a:off x="6363816" y="4596219"/>
            <a:ext cx="5119850" cy="1702185"/>
          </a:xfrm>
          <a:prstGeom prst="rect">
            <a:avLst/>
          </a:prstGeom>
        </p:spPr>
      </p:pic>
      <p:sp>
        <p:nvSpPr>
          <p:cNvPr id="8" name="TextBox 7"/>
          <p:cNvSpPr txBox="1"/>
          <p:nvPr/>
        </p:nvSpPr>
        <p:spPr>
          <a:xfrm>
            <a:off x="736943" y="2845550"/>
            <a:ext cx="4700783" cy="1347869"/>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Clustered Index data is stored in sorted order by the Clustering key. In many cases, this is the same value as the Primary Key.</a:t>
            </a:r>
          </a:p>
        </p:txBody>
      </p:sp>
      <p:sp>
        <p:nvSpPr>
          <p:cNvPr id="9" name="TextBox 8"/>
          <p:cNvSpPr txBox="1"/>
          <p:nvPr/>
        </p:nvSpPr>
        <p:spPr>
          <a:xfrm>
            <a:off x="736943" y="4817489"/>
            <a:ext cx="4700783" cy="1033982"/>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Using a WHERE statement on an Index could possibly have the Execution Plan seek the Index instead of scan.</a:t>
            </a:r>
          </a:p>
        </p:txBody>
      </p:sp>
      <p:sp>
        <p:nvSpPr>
          <p:cNvPr id="11" name="Title 3">
            <a:extLst>
              <a:ext uri="{FF2B5EF4-FFF2-40B4-BE49-F238E27FC236}">
                <a16:creationId xmlns:a16="http://schemas.microsoft.com/office/drawing/2014/main" id="{95AE7C88-91AF-4978-9358-B022FF5E6133}"/>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Execution Plan Table Operators</a:t>
            </a:r>
          </a:p>
        </p:txBody>
      </p:sp>
    </p:spTree>
    <p:extLst>
      <p:ext uri="{BB962C8B-B14F-4D97-AF65-F5344CB8AC3E}">
        <p14:creationId xmlns:p14="http://schemas.microsoft.com/office/powerpoint/2010/main" val="2495089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Query Execution</a:t>
            </a:r>
          </a:p>
        </p:txBody>
      </p:sp>
    </p:spTree>
    <p:extLst>
      <p:ext uri="{BB962C8B-B14F-4D97-AF65-F5344CB8AC3E}">
        <p14:creationId xmlns:p14="http://schemas.microsoft.com/office/powerpoint/2010/main" val="4083746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95AE7C88-91AF-4978-9358-B022FF5E6133}"/>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Execution Plan Join Operators (Code</a:t>
            </a:r>
            <a:r>
              <a:rPr lang="en-US" sz="3200" spc="-100" dirty="0">
                <a:solidFill>
                  <a:schemeClr val="dk1"/>
                </a:solidFill>
                <a:latin typeface="Segoe UI Light"/>
              </a:rPr>
              <a:t>)</a:t>
            </a:r>
          </a:p>
        </p:txBody>
      </p:sp>
      <p:pic>
        <p:nvPicPr>
          <p:cNvPr id="2" name="Picture 1">
            <a:extLst>
              <a:ext uri="{FF2B5EF4-FFF2-40B4-BE49-F238E27FC236}">
                <a16:creationId xmlns:a16="http://schemas.microsoft.com/office/drawing/2014/main" id="{68CA5CFA-A3EE-4EC4-9A57-3FF4A273C007}"/>
              </a:ext>
            </a:extLst>
          </p:cNvPr>
          <p:cNvPicPr>
            <a:picLocks noChangeAspect="1"/>
          </p:cNvPicPr>
          <p:nvPr/>
        </p:nvPicPr>
        <p:blipFill>
          <a:blip r:embed="rId2"/>
          <a:stretch>
            <a:fillRect/>
          </a:stretch>
        </p:blipFill>
        <p:spPr>
          <a:xfrm>
            <a:off x="792153" y="1636151"/>
            <a:ext cx="10195962" cy="4336086"/>
          </a:xfrm>
          <a:prstGeom prst="rect">
            <a:avLst/>
          </a:prstGeom>
        </p:spPr>
      </p:pic>
    </p:spTree>
    <p:extLst>
      <p:ext uri="{BB962C8B-B14F-4D97-AF65-F5344CB8AC3E}">
        <p14:creationId xmlns:p14="http://schemas.microsoft.com/office/powerpoint/2010/main" val="41152174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85551" y="1486747"/>
            <a:ext cx="4700783" cy="1013800"/>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A Merge Join is useful if both table inputs are in the same sorted order on the same value.</a:t>
            </a:r>
          </a:p>
        </p:txBody>
      </p:sp>
      <p:sp>
        <p:nvSpPr>
          <p:cNvPr id="8" name="TextBox 7"/>
          <p:cNvSpPr txBox="1"/>
          <p:nvPr/>
        </p:nvSpPr>
        <p:spPr>
          <a:xfrm>
            <a:off x="766284" y="3278055"/>
            <a:ext cx="4700783" cy="1013800"/>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A Hash Match is used when the tables being joined are not in the same sorted order.</a:t>
            </a:r>
          </a:p>
        </p:txBody>
      </p:sp>
      <p:sp>
        <p:nvSpPr>
          <p:cNvPr id="9" name="TextBox 8"/>
          <p:cNvSpPr txBox="1"/>
          <p:nvPr/>
        </p:nvSpPr>
        <p:spPr>
          <a:xfrm>
            <a:off x="785551" y="4900319"/>
            <a:ext cx="4700783" cy="1013800"/>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A Nested Loop is use when a small (outer) table is used to lookup a value in a larger (inner) table.</a:t>
            </a:r>
          </a:p>
        </p:txBody>
      </p:sp>
      <p:sp>
        <p:nvSpPr>
          <p:cNvPr id="11" name="Title 3">
            <a:extLst>
              <a:ext uri="{FF2B5EF4-FFF2-40B4-BE49-F238E27FC236}">
                <a16:creationId xmlns:a16="http://schemas.microsoft.com/office/drawing/2014/main" id="{95AE7C88-91AF-4978-9358-B022FF5E6133}"/>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Execution Plan Join Operators</a:t>
            </a:r>
          </a:p>
        </p:txBody>
      </p:sp>
      <p:pic>
        <p:nvPicPr>
          <p:cNvPr id="3" name="Picture 2">
            <a:extLst>
              <a:ext uri="{FF2B5EF4-FFF2-40B4-BE49-F238E27FC236}">
                <a16:creationId xmlns:a16="http://schemas.microsoft.com/office/drawing/2014/main" id="{2F2CAA6C-6BEB-4C1E-95DB-B064800B4E09}"/>
              </a:ext>
            </a:extLst>
          </p:cNvPr>
          <p:cNvPicPr>
            <a:picLocks noChangeAspect="1"/>
          </p:cNvPicPr>
          <p:nvPr/>
        </p:nvPicPr>
        <p:blipFill>
          <a:blip r:embed="rId2"/>
          <a:stretch>
            <a:fillRect/>
          </a:stretch>
        </p:blipFill>
        <p:spPr>
          <a:xfrm>
            <a:off x="7712012" y="2960773"/>
            <a:ext cx="1918009" cy="1615166"/>
          </a:xfrm>
          <a:prstGeom prst="rect">
            <a:avLst/>
          </a:prstGeom>
        </p:spPr>
      </p:pic>
      <p:pic>
        <p:nvPicPr>
          <p:cNvPr id="10" name="Picture 9">
            <a:extLst>
              <a:ext uri="{FF2B5EF4-FFF2-40B4-BE49-F238E27FC236}">
                <a16:creationId xmlns:a16="http://schemas.microsoft.com/office/drawing/2014/main" id="{916DACB0-5B80-4FCE-AA9D-4FEFED1969E9}"/>
              </a:ext>
            </a:extLst>
          </p:cNvPr>
          <p:cNvPicPr>
            <a:picLocks noChangeAspect="1"/>
          </p:cNvPicPr>
          <p:nvPr/>
        </p:nvPicPr>
        <p:blipFill>
          <a:blip r:embed="rId3"/>
          <a:stretch>
            <a:fillRect/>
          </a:stretch>
        </p:blipFill>
        <p:spPr>
          <a:xfrm>
            <a:off x="7754960" y="4883719"/>
            <a:ext cx="1932488" cy="1715760"/>
          </a:xfrm>
          <a:prstGeom prst="rect">
            <a:avLst/>
          </a:prstGeom>
        </p:spPr>
      </p:pic>
      <p:pic>
        <p:nvPicPr>
          <p:cNvPr id="12" name="Picture 11">
            <a:extLst>
              <a:ext uri="{FF2B5EF4-FFF2-40B4-BE49-F238E27FC236}">
                <a16:creationId xmlns:a16="http://schemas.microsoft.com/office/drawing/2014/main" id="{E95D8A78-B55C-453E-91FA-F586010ECEEF}"/>
              </a:ext>
            </a:extLst>
          </p:cNvPr>
          <p:cNvPicPr>
            <a:picLocks noChangeAspect="1"/>
          </p:cNvPicPr>
          <p:nvPr/>
        </p:nvPicPr>
        <p:blipFill>
          <a:blip r:embed="rId4"/>
          <a:stretch>
            <a:fillRect/>
          </a:stretch>
        </p:blipFill>
        <p:spPr>
          <a:xfrm>
            <a:off x="7754960" y="1054169"/>
            <a:ext cx="1932488" cy="1777887"/>
          </a:xfrm>
          <a:prstGeom prst="rect">
            <a:avLst/>
          </a:prstGeom>
        </p:spPr>
      </p:pic>
    </p:spTree>
    <p:extLst>
      <p:ext uri="{BB962C8B-B14F-4D97-AF65-F5344CB8AC3E}">
        <p14:creationId xmlns:p14="http://schemas.microsoft.com/office/powerpoint/2010/main" val="5155896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wrap="square" anchor="t">
            <a:normAutofit/>
          </a:bodyPr>
          <a:lstStyle/>
          <a:p>
            <a:r>
              <a:rPr lang="en-US" dirty="0"/>
              <a:t>What to look for in the query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extLst>
              <p:ext uri="{D42A27DB-BD31-4B8C-83A1-F6EECF244321}">
                <p14:modId xmlns:p14="http://schemas.microsoft.com/office/powerpoint/2010/main" val="1972903764"/>
              </p:ext>
            </p:extLst>
          </p:nvPr>
        </p:nvGraphicFramePr>
        <p:xfrm>
          <a:off x="442119" y="990600"/>
          <a:ext cx="11307762" cy="5410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349112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Query Plan Analysis</a:t>
            </a:r>
          </a:p>
          <a:p>
            <a:pPr marL="342900" indent="-342900">
              <a:buFont typeface="Arial" panose="020B0604020202020204" pitchFamily="34" charset="0"/>
              <a:buChar char="•"/>
            </a:pPr>
            <a:r>
              <a:rPr lang="en-US" sz="2000" dirty="0"/>
              <a:t>Use the graphical execution plan and IO statistics to tune a query.</a:t>
            </a:r>
          </a:p>
          <a:p>
            <a:pPr marL="342900" indent="-342900">
              <a:buFont typeface="Arial" panose="020B0604020202020204" pitchFamily="34" charset="0"/>
              <a:buChar char="•"/>
            </a:pPr>
            <a:r>
              <a:rPr lang="en-US" sz="2000" dirty="0"/>
              <a:t>Explore Live Query Statistic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Query Plan Analysi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Identifying and tuning high cost operators in the query plan</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3: SQL Server Intelligent Query Processing</a:t>
            </a:r>
          </a:p>
        </p:txBody>
      </p:sp>
    </p:spTree>
    <p:extLst>
      <p:ext uri="{BB962C8B-B14F-4D97-AF65-F5344CB8AC3E}">
        <p14:creationId xmlns:p14="http://schemas.microsoft.com/office/powerpoint/2010/main" val="16117427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Intelligent query processing features.</a:t>
            </a:r>
          </a:p>
          <a:p>
            <a:r>
              <a:rPr lang="en-US" dirty="0"/>
              <a:t>Enable/disable Intelligent query processing featur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424530645"/>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ntelligent query process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Features family</a:t>
            </a:r>
          </a:p>
        </p:txBody>
      </p:sp>
      <p:pic>
        <p:nvPicPr>
          <p:cNvPr id="11266" name="Picture 2" descr="Intelligent Query Processing">
            <a:extLst>
              <a:ext uri="{FF2B5EF4-FFF2-40B4-BE49-F238E27FC236}">
                <a16:creationId xmlns:a16="http://schemas.microsoft.com/office/drawing/2014/main" id="{A26473B8-2991-46F4-B947-212ECFDF09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00200"/>
            <a:ext cx="10134600" cy="4683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646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Explain Query Compilation and Optimization Process.</a:t>
            </a:r>
          </a:p>
          <a:p>
            <a:r>
              <a:rPr lang="en-US" dirty="0"/>
              <a:t>Explain Query Execution Process.</a:t>
            </a:r>
          </a:p>
          <a:p>
            <a:r>
              <a:rPr lang="en-US" dirty="0"/>
              <a:t>Explain Recompilation caus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8A788D7-8552-4B7E-A8E0-60F745ADD10C}"/>
              </a:ext>
            </a:extLst>
          </p:cNvPr>
          <p:cNvPicPr>
            <a:picLocks noChangeAspect="1"/>
          </p:cNvPicPr>
          <p:nvPr/>
        </p:nvPicPr>
        <p:blipFill>
          <a:blip r:embed="rId3"/>
          <a:stretch>
            <a:fillRect/>
          </a:stretch>
        </p:blipFill>
        <p:spPr>
          <a:xfrm>
            <a:off x="4495800" y="1432001"/>
            <a:ext cx="7239000" cy="3625182"/>
          </a:xfrm>
          <a:prstGeom prst="rect">
            <a:avLst/>
          </a:prstGeom>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s-MX" dirty="0"/>
              <a:t>Adaptive joins (Batch mode)</a:t>
            </a:r>
            <a:endParaRPr lang="en-US" dirty="0"/>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Adaptive join introduction</a:t>
            </a:r>
          </a:p>
        </p:txBody>
      </p:sp>
      <p:pic>
        <p:nvPicPr>
          <p:cNvPr id="5122" name="Picture 2" descr="Adaptive Join operator icon">
            <a:extLst>
              <a:ext uri="{FF2B5EF4-FFF2-40B4-BE49-F238E27FC236}">
                <a16:creationId xmlns:a16="http://schemas.microsoft.com/office/drawing/2014/main" id="{2ABF4842-E9EB-4F95-AFC3-C83F1B5607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49000" y="259530"/>
            <a:ext cx="685800" cy="685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Diagram 4">
            <a:extLst>
              <a:ext uri="{FF2B5EF4-FFF2-40B4-BE49-F238E27FC236}">
                <a16:creationId xmlns:a16="http://schemas.microsoft.com/office/drawing/2014/main" id="{85FCFEA5-76C0-481C-AAC4-2ED55A37454B}"/>
              </a:ext>
            </a:extLst>
          </p:cNvPr>
          <p:cNvGraphicFramePr/>
          <p:nvPr>
            <p:extLst>
              <p:ext uri="{D42A27DB-BD31-4B8C-83A1-F6EECF244321}">
                <p14:modId xmlns:p14="http://schemas.microsoft.com/office/powerpoint/2010/main" val="2827604288"/>
              </p:ext>
            </p:extLst>
          </p:nvPr>
        </p:nvGraphicFramePr>
        <p:xfrm>
          <a:off x="225917" y="1432001"/>
          <a:ext cx="4422283" cy="514743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Picture 5">
            <a:extLst>
              <a:ext uri="{FF2B5EF4-FFF2-40B4-BE49-F238E27FC236}">
                <a16:creationId xmlns:a16="http://schemas.microsoft.com/office/drawing/2014/main" id="{7DE32251-19FA-407E-995F-625B8418B5D2}"/>
              </a:ext>
            </a:extLst>
          </p:cNvPr>
          <p:cNvPicPr>
            <a:picLocks noChangeAspect="1"/>
          </p:cNvPicPr>
          <p:nvPr/>
        </p:nvPicPr>
        <p:blipFill rotWithShape="1">
          <a:blip r:embed="rId10"/>
          <a:srcRect r="3809"/>
          <a:stretch/>
        </p:blipFill>
        <p:spPr>
          <a:xfrm>
            <a:off x="6400800" y="2590800"/>
            <a:ext cx="2838261" cy="1915201"/>
          </a:xfrm>
          <a:prstGeom prst="rect">
            <a:avLst/>
          </a:prstGeom>
        </p:spPr>
      </p:pic>
    </p:spTree>
    <p:extLst>
      <p:ext uri="{BB962C8B-B14F-4D97-AF65-F5344CB8AC3E}">
        <p14:creationId xmlns:p14="http://schemas.microsoft.com/office/powerpoint/2010/main" val="22026102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daptive joins (Batch mode)</a:t>
            </a:r>
          </a:p>
        </p:txBody>
      </p:sp>
      <p:sp>
        <p:nvSpPr>
          <p:cNvPr id="11" name="Subtitle 10">
            <a:extLst>
              <a:ext uri="{FF2B5EF4-FFF2-40B4-BE49-F238E27FC236}">
                <a16:creationId xmlns:a16="http://schemas.microsoft.com/office/drawing/2014/main" id="{FFAAFCAB-7AC9-4807-ACDA-4668ED10F3AF}"/>
              </a:ext>
            </a:extLst>
          </p:cNvPr>
          <p:cNvSpPr>
            <a:spLocks noGrp="1"/>
          </p:cNvSpPr>
          <p:nvPr>
            <p:ph type="subTitle" idx="1"/>
          </p:nvPr>
        </p:nvSpPr>
        <p:spPr/>
        <p:txBody>
          <a:bodyPr/>
          <a:lstStyle/>
          <a:p>
            <a:r>
              <a:rPr lang="en-US" dirty="0"/>
              <a:t>Enabling/Disabling Adaptive joins </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3"/>
            <a:ext cx="10880726" cy="4663503"/>
          </a:xfrm>
        </p:spPr>
        <p:txBody>
          <a:bodyPr>
            <a:normAutofit/>
          </a:bodyPr>
          <a:lstStyle/>
          <a:p>
            <a:r>
              <a:rPr lang="en-US" dirty="0"/>
              <a:t>Enabled by default in Compatibility level 140 or higher.</a:t>
            </a:r>
          </a:p>
          <a:p>
            <a:r>
              <a:rPr lang="en-US" dirty="0"/>
              <a:t>To disable change compatibility level to 130 or lower (not recommended).</a:t>
            </a:r>
          </a:p>
          <a:p>
            <a:r>
              <a:rPr lang="en-US" dirty="0"/>
              <a:t>You can enable/disable it at the database level in </a:t>
            </a:r>
          </a:p>
          <a:p>
            <a:pPr marL="310896" lvl="1" indent="0">
              <a:buNone/>
            </a:pPr>
            <a:r>
              <a:rPr lang="en-US" dirty="0"/>
              <a:t>SQL Server 2017.</a:t>
            </a:r>
          </a:p>
          <a:p>
            <a:pPr marL="0" indent="0">
              <a:buNone/>
            </a:pPr>
            <a:endParaRPr lang="en-US" dirty="0"/>
          </a:p>
          <a:p>
            <a:pPr marL="310896" lvl="1" indent="0">
              <a:buNone/>
            </a:pPr>
            <a:r>
              <a:rPr lang="en-US" dirty="0"/>
              <a:t>Azure SQL Database, SQL Server 2019 and higher</a:t>
            </a:r>
          </a:p>
          <a:p>
            <a:pPr marL="0" indent="0">
              <a:buNone/>
            </a:pPr>
            <a:endParaRPr lang="en-US" dirty="0"/>
          </a:p>
          <a:p>
            <a:r>
              <a:rPr lang="en-US" dirty="0"/>
              <a:t>You can disable it at statement scope if necessary.</a:t>
            </a:r>
          </a:p>
          <a:p>
            <a:pPr marL="0" indent="0">
              <a:buNone/>
            </a:pPr>
            <a:endParaRPr lang="en-US" dirty="0"/>
          </a:p>
        </p:txBody>
      </p:sp>
      <p:sp>
        <p:nvSpPr>
          <p:cNvPr id="6" name="Rectangle 5">
            <a:extLst>
              <a:ext uri="{FF2B5EF4-FFF2-40B4-BE49-F238E27FC236}">
                <a16:creationId xmlns:a16="http://schemas.microsoft.com/office/drawing/2014/main" id="{F8842B6B-AD6C-401F-904D-7A4A505688DB}"/>
              </a:ext>
            </a:extLst>
          </p:cNvPr>
          <p:cNvSpPr/>
          <p:nvPr/>
        </p:nvSpPr>
        <p:spPr>
          <a:xfrm>
            <a:off x="914398" y="3048000"/>
            <a:ext cx="10880725" cy="4616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DISABLE_BATCH_MODE_ADAPTIVE_JOINS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b="1" dirty="0">
                <a:solidFill>
                  <a:srgbClr val="0000FF"/>
                </a:solidFill>
                <a:latin typeface="Consolas" panose="020B0609020204030204" pitchFamily="49" charset="0"/>
              </a:rPr>
              <a:t>ON</a:t>
            </a:r>
            <a:r>
              <a:rPr lang="en-US" dirty="0">
                <a:solidFill>
                  <a:srgbClr val="0000FF"/>
                </a:solidFill>
                <a:latin typeface="Consolas" panose="020B0609020204030204" pitchFamily="49" charset="0"/>
              </a:rPr>
              <a:t>|OFF</a:t>
            </a:r>
            <a:r>
              <a:rPr lang="en-US" dirty="0">
                <a:solidFill>
                  <a:srgbClr val="808080"/>
                </a:solidFill>
                <a:latin typeface="Consolas" panose="020B0609020204030204" pitchFamily="49" charset="0"/>
              </a:rPr>
              <a:t>;</a:t>
            </a:r>
            <a:endParaRPr lang="en-US" sz="1800" dirty="0">
              <a:solidFill>
                <a:prstClr val="black"/>
              </a:solidFill>
              <a:latin typeface="Lucida Console" panose="020B0609040504020204" pitchFamily="49" charset="0"/>
            </a:endParaRPr>
          </a:p>
        </p:txBody>
      </p:sp>
      <p:sp>
        <p:nvSpPr>
          <p:cNvPr id="8" name="Rectangle 7">
            <a:extLst>
              <a:ext uri="{FF2B5EF4-FFF2-40B4-BE49-F238E27FC236}">
                <a16:creationId xmlns:a16="http://schemas.microsoft.com/office/drawing/2014/main" id="{63B9B722-F161-4DC3-9B99-6703E07B34E0}"/>
              </a:ext>
            </a:extLst>
          </p:cNvPr>
          <p:cNvSpPr/>
          <p:nvPr/>
        </p:nvSpPr>
        <p:spPr>
          <a:xfrm>
            <a:off x="914398" y="3905240"/>
            <a:ext cx="10880725" cy="4616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BATCH_MODE_ADAPTIVE_JOINS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b="1" dirty="0">
                <a:solidFill>
                  <a:srgbClr val="0000FF"/>
                </a:solidFill>
                <a:latin typeface="Consolas" panose="020B0609020204030204" pitchFamily="49" charset="0"/>
              </a:rPr>
              <a:t>ON</a:t>
            </a:r>
            <a:r>
              <a:rPr lang="en-US" dirty="0">
                <a:solidFill>
                  <a:srgbClr val="0000FF"/>
                </a:solidFill>
                <a:latin typeface="Consolas" panose="020B0609020204030204" pitchFamily="49" charset="0"/>
              </a:rPr>
              <a:t>|OFF</a:t>
            </a:r>
            <a:r>
              <a:rPr lang="en-US" dirty="0">
                <a:solidFill>
                  <a:srgbClr val="808080"/>
                </a:solidFill>
                <a:latin typeface="Consolas" panose="020B0609020204030204" pitchFamily="49" charset="0"/>
              </a:rPr>
              <a:t>;</a:t>
            </a:r>
            <a:endParaRPr lang="en-US" sz="1800" dirty="0">
              <a:solidFill>
                <a:prstClr val="black"/>
              </a:solidFill>
              <a:latin typeface="Lucida Console" panose="020B0609040504020204" pitchFamily="49" charset="0"/>
            </a:endParaRPr>
          </a:p>
        </p:txBody>
      </p:sp>
      <p:sp>
        <p:nvSpPr>
          <p:cNvPr id="9" name="Rectangle 8">
            <a:extLst>
              <a:ext uri="{FF2B5EF4-FFF2-40B4-BE49-F238E27FC236}">
                <a16:creationId xmlns:a16="http://schemas.microsoft.com/office/drawing/2014/main" id="{C1C8E9F5-5846-45F0-9E02-D14844D69038}"/>
              </a:ext>
            </a:extLst>
          </p:cNvPr>
          <p:cNvSpPr/>
          <p:nvPr/>
        </p:nvSpPr>
        <p:spPr>
          <a:xfrm>
            <a:off x="917446" y="4801457"/>
            <a:ext cx="10880725" cy="696189"/>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lt;statement&gt;</a:t>
            </a:r>
          </a:p>
          <a:p>
            <a:r>
              <a:rPr lang="en-US" dirty="0">
                <a:solidFill>
                  <a:srgbClr val="0000FF"/>
                </a:solidFill>
                <a:latin typeface="Consolas" panose="020B0609020204030204" pitchFamily="49" charset="0"/>
              </a:rPr>
              <a:t>OPTION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DISABLE_BATCH_MODE_ADAPTIVE_JOINS'</a:t>
            </a:r>
            <a:r>
              <a:rPr lang="en-US" dirty="0">
                <a:solidFill>
                  <a:srgbClr val="808080"/>
                </a:solidFill>
                <a:latin typeface="Consolas" panose="020B0609020204030204" pitchFamily="49" charset="0"/>
              </a:rPr>
              <a:t>));</a:t>
            </a:r>
            <a:endParaRPr lang="en-US" sz="1800" dirty="0">
              <a:solidFill>
                <a:prstClr val="black"/>
              </a:solidFill>
              <a:latin typeface="Lucida Console" panose="020B0609040504020204" pitchFamily="49" charset="0"/>
            </a:endParaRPr>
          </a:p>
        </p:txBody>
      </p:sp>
      <p:pic>
        <p:nvPicPr>
          <p:cNvPr id="13" name="Picture 2" descr="Adaptive Join operator icon">
            <a:extLst>
              <a:ext uri="{FF2B5EF4-FFF2-40B4-BE49-F238E27FC236}">
                <a16:creationId xmlns:a16="http://schemas.microsoft.com/office/drawing/2014/main" id="{BDFA756D-3080-467C-A3AC-4BB7340A2D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8000" y="519705"/>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61022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nterleaved Execu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pic>
        <p:nvPicPr>
          <p:cNvPr id="5" name="Picture 4">
            <a:extLst>
              <a:ext uri="{FF2B5EF4-FFF2-40B4-BE49-F238E27FC236}">
                <a16:creationId xmlns:a16="http://schemas.microsoft.com/office/drawing/2014/main" id="{EC201D3E-B7B4-40D4-834E-9E2CDC7007B6}"/>
              </a:ext>
            </a:extLst>
          </p:cNvPr>
          <p:cNvPicPr>
            <a:picLocks noChangeAspect="1"/>
          </p:cNvPicPr>
          <p:nvPr/>
        </p:nvPicPr>
        <p:blipFill rotWithShape="1">
          <a:blip r:embed="rId3"/>
          <a:srcRect t="11622"/>
          <a:stretch/>
        </p:blipFill>
        <p:spPr>
          <a:xfrm>
            <a:off x="628215" y="2393221"/>
            <a:ext cx="3276624" cy="3476654"/>
          </a:xfrm>
          <a:prstGeom prst="rect">
            <a:avLst/>
          </a:prstGeom>
        </p:spPr>
      </p:pic>
      <p:pic>
        <p:nvPicPr>
          <p:cNvPr id="6" name="Picture 5">
            <a:extLst>
              <a:ext uri="{FF2B5EF4-FFF2-40B4-BE49-F238E27FC236}">
                <a16:creationId xmlns:a16="http://schemas.microsoft.com/office/drawing/2014/main" id="{301CF1D3-1D9A-49B1-9A5E-5C6BE5582F16}"/>
              </a:ext>
            </a:extLst>
          </p:cNvPr>
          <p:cNvPicPr>
            <a:picLocks noChangeAspect="1"/>
          </p:cNvPicPr>
          <p:nvPr/>
        </p:nvPicPr>
        <p:blipFill>
          <a:blip r:embed="rId4"/>
          <a:stretch>
            <a:fillRect/>
          </a:stretch>
        </p:blipFill>
        <p:spPr>
          <a:xfrm>
            <a:off x="8533042" y="2393221"/>
            <a:ext cx="3371875" cy="3467125"/>
          </a:xfrm>
          <a:prstGeom prst="rect">
            <a:avLst/>
          </a:prstGeom>
        </p:spPr>
      </p:pic>
      <p:sp>
        <p:nvSpPr>
          <p:cNvPr id="7" name="TextBox 6">
            <a:extLst>
              <a:ext uri="{FF2B5EF4-FFF2-40B4-BE49-F238E27FC236}">
                <a16:creationId xmlns:a16="http://schemas.microsoft.com/office/drawing/2014/main" id="{326F01E2-D219-47E5-8E71-6E52740FD52A}"/>
              </a:ext>
            </a:extLst>
          </p:cNvPr>
          <p:cNvSpPr txBox="1"/>
          <p:nvPr/>
        </p:nvSpPr>
        <p:spPr>
          <a:xfrm>
            <a:off x="628215" y="1905000"/>
            <a:ext cx="3276624"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Compatibility Level 120/130</a:t>
            </a:r>
          </a:p>
        </p:txBody>
      </p:sp>
      <p:pic>
        <p:nvPicPr>
          <p:cNvPr id="8" name="Picture 7">
            <a:extLst>
              <a:ext uri="{FF2B5EF4-FFF2-40B4-BE49-F238E27FC236}">
                <a16:creationId xmlns:a16="http://schemas.microsoft.com/office/drawing/2014/main" id="{A2D31080-9FF8-48F0-B4B3-65421D5E57A6}"/>
              </a:ext>
            </a:extLst>
          </p:cNvPr>
          <p:cNvPicPr>
            <a:picLocks noChangeAspect="1"/>
          </p:cNvPicPr>
          <p:nvPr/>
        </p:nvPicPr>
        <p:blipFill>
          <a:blip r:embed="rId5"/>
          <a:stretch>
            <a:fillRect/>
          </a:stretch>
        </p:blipFill>
        <p:spPr>
          <a:xfrm>
            <a:off x="4289406" y="1538991"/>
            <a:ext cx="3890991" cy="1643075"/>
          </a:xfrm>
          <a:prstGeom prst="rect">
            <a:avLst/>
          </a:prstGeom>
          <a:ln>
            <a:solidFill>
              <a:schemeClr val="tx2"/>
            </a:solidFill>
          </a:ln>
        </p:spPr>
      </p:pic>
      <p:sp>
        <p:nvSpPr>
          <p:cNvPr id="9" name="TextBox 8">
            <a:extLst>
              <a:ext uri="{FF2B5EF4-FFF2-40B4-BE49-F238E27FC236}">
                <a16:creationId xmlns:a16="http://schemas.microsoft.com/office/drawing/2014/main" id="{6D0EC966-8547-4FC8-BE1C-F539D042BCA3}"/>
              </a:ext>
            </a:extLst>
          </p:cNvPr>
          <p:cNvSpPr txBox="1"/>
          <p:nvPr/>
        </p:nvSpPr>
        <p:spPr>
          <a:xfrm>
            <a:off x="8533042" y="1905000"/>
            <a:ext cx="3371875"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Compatibility Level 140 or higher</a:t>
            </a:r>
          </a:p>
        </p:txBody>
      </p:sp>
      <p:sp>
        <p:nvSpPr>
          <p:cNvPr id="10" name="Rectangle 9">
            <a:extLst>
              <a:ext uri="{FF2B5EF4-FFF2-40B4-BE49-F238E27FC236}">
                <a16:creationId xmlns:a16="http://schemas.microsoft.com/office/drawing/2014/main" id="{62B687EA-EE62-4DCF-A5CC-1FC6F7BAAFFA}"/>
              </a:ext>
            </a:extLst>
          </p:cNvPr>
          <p:cNvSpPr/>
          <p:nvPr/>
        </p:nvSpPr>
        <p:spPr bwMode="auto">
          <a:xfrm>
            <a:off x="599011" y="4858072"/>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F05FD029-2617-4745-9B9D-7A3AAFB450D0}"/>
              </a:ext>
            </a:extLst>
          </p:cNvPr>
          <p:cNvSpPr/>
          <p:nvPr/>
        </p:nvSpPr>
        <p:spPr bwMode="auto">
          <a:xfrm>
            <a:off x="6986650" y="2362521"/>
            <a:ext cx="838200" cy="819545"/>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05C9BD16-7380-4DFE-B836-0ED0B85D75F9}"/>
              </a:ext>
            </a:extLst>
          </p:cNvPr>
          <p:cNvSpPr/>
          <p:nvPr/>
        </p:nvSpPr>
        <p:spPr bwMode="auto">
          <a:xfrm>
            <a:off x="601727" y="3393761"/>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3EE0F69A-FCDA-455B-8CA4-D972CAA26674}"/>
              </a:ext>
            </a:extLst>
          </p:cNvPr>
          <p:cNvSpPr/>
          <p:nvPr/>
        </p:nvSpPr>
        <p:spPr bwMode="auto">
          <a:xfrm>
            <a:off x="8568526" y="4845798"/>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F79EA48F-051F-4E7D-B093-5F52F6125788}"/>
              </a:ext>
            </a:extLst>
          </p:cNvPr>
          <p:cNvSpPr/>
          <p:nvPr/>
        </p:nvSpPr>
        <p:spPr bwMode="auto">
          <a:xfrm>
            <a:off x="8571242" y="3381487"/>
            <a:ext cx="3335033" cy="25190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BBDC2EA3-99C8-4CC9-8680-B00FB7E619E8}"/>
              </a:ext>
            </a:extLst>
          </p:cNvPr>
          <p:cNvSpPr txBox="1"/>
          <p:nvPr/>
        </p:nvSpPr>
        <p:spPr>
          <a:xfrm>
            <a:off x="4178179" y="3363199"/>
            <a:ext cx="4203821" cy="2788456"/>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t>During optimization if SQL Server encounter a read-only multi-statement table-valued function (MSTVF), it will pause optimization, execute the applicable subtree, capture accurate cardinality estimates, and then resume optimization for downstream operations.</a:t>
            </a:r>
          </a:p>
        </p:txBody>
      </p:sp>
    </p:spTree>
    <p:extLst>
      <p:ext uri="{BB962C8B-B14F-4D97-AF65-F5344CB8AC3E}">
        <p14:creationId xmlns:p14="http://schemas.microsoft.com/office/powerpoint/2010/main" val="37854455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nterleaved Execution</a:t>
            </a:r>
          </a:p>
        </p:txBody>
      </p:sp>
      <p:sp>
        <p:nvSpPr>
          <p:cNvPr id="11" name="Subtitle 10">
            <a:extLst>
              <a:ext uri="{FF2B5EF4-FFF2-40B4-BE49-F238E27FC236}">
                <a16:creationId xmlns:a16="http://schemas.microsoft.com/office/drawing/2014/main" id="{FFAAFCAB-7AC9-4807-ACDA-4668ED10F3AF}"/>
              </a:ext>
            </a:extLst>
          </p:cNvPr>
          <p:cNvSpPr>
            <a:spLocks noGrp="1"/>
          </p:cNvSpPr>
          <p:nvPr>
            <p:ph type="subTitle" idx="1"/>
          </p:nvPr>
        </p:nvSpPr>
        <p:spPr/>
        <p:txBody>
          <a:bodyPr/>
          <a:lstStyle/>
          <a:p>
            <a:r>
              <a:rPr lang="en-US" dirty="0"/>
              <a:t>Enabling/Disabling Interleaved Execu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3"/>
            <a:ext cx="10880726" cy="4663503"/>
          </a:xfrm>
        </p:spPr>
        <p:txBody>
          <a:bodyPr>
            <a:normAutofit/>
          </a:bodyPr>
          <a:lstStyle/>
          <a:p>
            <a:r>
              <a:rPr lang="en-US" dirty="0"/>
              <a:t>Enabled by default in Compatibility level 140 or higher.</a:t>
            </a:r>
          </a:p>
          <a:p>
            <a:r>
              <a:rPr lang="en-US" dirty="0"/>
              <a:t>To disable change compatibility level to 130 or lower (not recommended).</a:t>
            </a:r>
          </a:p>
          <a:p>
            <a:r>
              <a:rPr lang="en-US" dirty="0"/>
              <a:t>You can enable/disable it at the database level</a:t>
            </a:r>
          </a:p>
          <a:p>
            <a:pPr marL="310896" lvl="1" indent="0">
              <a:buNone/>
            </a:pPr>
            <a:r>
              <a:rPr lang="en-US" dirty="0"/>
              <a:t>SQL Server 2017.</a:t>
            </a:r>
          </a:p>
          <a:p>
            <a:pPr marL="0" indent="0">
              <a:buNone/>
            </a:pPr>
            <a:endParaRPr lang="en-US" dirty="0"/>
          </a:p>
          <a:p>
            <a:pPr marL="310896" lvl="1" indent="0">
              <a:buNone/>
            </a:pPr>
            <a:r>
              <a:rPr lang="en-US" dirty="0"/>
              <a:t>Azure SQL Database, SQL Server 2019 and higher</a:t>
            </a:r>
          </a:p>
          <a:p>
            <a:pPr marL="0" indent="0">
              <a:buNone/>
            </a:pPr>
            <a:endParaRPr lang="en-US" dirty="0"/>
          </a:p>
          <a:p>
            <a:r>
              <a:rPr lang="en-US" dirty="0"/>
              <a:t>You can disable it at statement scope if necessary.</a:t>
            </a:r>
          </a:p>
          <a:p>
            <a:pPr marL="0" indent="0">
              <a:buNone/>
            </a:pPr>
            <a:endParaRPr lang="en-US" dirty="0"/>
          </a:p>
        </p:txBody>
      </p:sp>
      <p:sp>
        <p:nvSpPr>
          <p:cNvPr id="6" name="Rectangle 5">
            <a:extLst>
              <a:ext uri="{FF2B5EF4-FFF2-40B4-BE49-F238E27FC236}">
                <a16:creationId xmlns:a16="http://schemas.microsoft.com/office/drawing/2014/main" id="{F8842B6B-AD6C-401F-904D-7A4A505688DB}"/>
              </a:ext>
            </a:extLst>
          </p:cNvPr>
          <p:cNvSpPr/>
          <p:nvPr/>
        </p:nvSpPr>
        <p:spPr>
          <a:xfrm>
            <a:off x="914398" y="3048000"/>
            <a:ext cx="10880725" cy="4616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DISABLE_INTERLEAVED_EXECUTION_TVF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b="1" dirty="0">
                <a:solidFill>
                  <a:srgbClr val="0000FF"/>
                </a:solidFill>
                <a:latin typeface="Consolas" panose="020B0609020204030204" pitchFamily="49" charset="0"/>
              </a:rPr>
              <a:t>ON</a:t>
            </a:r>
            <a:r>
              <a:rPr lang="en-US" dirty="0">
                <a:solidFill>
                  <a:srgbClr val="0000FF"/>
                </a:solidFill>
                <a:latin typeface="Consolas" panose="020B0609020204030204" pitchFamily="49" charset="0"/>
              </a:rPr>
              <a:t>|OFF</a:t>
            </a:r>
            <a:r>
              <a:rPr lang="en-US" dirty="0">
                <a:solidFill>
                  <a:srgbClr val="808080"/>
                </a:solidFill>
                <a:latin typeface="Consolas" panose="020B0609020204030204" pitchFamily="49" charset="0"/>
              </a:rPr>
              <a:t>;</a:t>
            </a:r>
            <a:endParaRPr lang="en-US" sz="1800" dirty="0">
              <a:solidFill>
                <a:prstClr val="black"/>
              </a:solidFill>
              <a:latin typeface="Lucida Console" panose="020B0609040504020204" pitchFamily="49" charset="0"/>
            </a:endParaRPr>
          </a:p>
        </p:txBody>
      </p:sp>
      <p:sp>
        <p:nvSpPr>
          <p:cNvPr id="8" name="Rectangle 7">
            <a:extLst>
              <a:ext uri="{FF2B5EF4-FFF2-40B4-BE49-F238E27FC236}">
                <a16:creationId xmlns:a16="http://schemas.microsoft.com/office/drawing/2014/main" id="{63B9B722-F161-4DC3-9B99-6703E07B34E0}"/>
              </a:ext>
            </a:extLst>
          </p:cNvPr>
          <p:cNvSpPr/>
          <p:nvPr/>
        </p:nvSpPr>
        <p:spPr>
          <a:xfrm>
            <a:off x="914397" y="3909130"/>
            <a:ext cx="10880725" cy="4616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INTERLEAVED_EXECUTION_TVF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b="1" dirty="0">
                <a:solidFill>
                  <a:srgbClr val="0000FF"/>
                </a:solidFill>
                <a:latin typeface="Consolas" panose="020B0609020204030204" pitchFamily="49" charset="0"/>
              </a:rPr>
              <a:t>ON</a:t>
            </a:r>
            <a:r>
              <a:rPr lang="en-US" dirty="0">
                <a:solidFill>
                  <a:srgbClr val="0000FF"/>
                </a:solidFill>
                <a:latin typeface="Consolas" panose="020B0609020204030204" pitchFamily="49" charset="0"/>
              </a:rPr>
              <a:t>|OFF</a:t>
            </a:r>
            <a:r>
              <a:rPr lang="en-US" dirty="0">
                <a:solidFill>
                  <a:srgbClr val="808080"/>
                </a:solidFill>
                <a:latin typeface="Consolas" panose="020B0609020204030204" pitchFamily="49" charset="0"/>
              </a:rPr>
              <a:t>;</a:t>
            </a:r>
            <a:endParaRPr lang="en-US" sz="1800" dirty="0">
              <a:solidFill>
                <a:prstClr val="black"/>
              </a:solidFill>
              <a:latin typeface="Lucida Console" panose="020B0609040504020204" pitchFamily="49" charset="0"/>
            </a:endParaRPr>
          </a:p>
        </p:txBody>
      </p:sp>
      <p:sp>
        <p:nvSpPr>
          <p:cNvPr id="9" name="Rectangle 8">
            <a:extLst>
              <a:ext uri="{FF2B5EF4-FFF2-40B4-BE49-F238E27FC236}">
                <a16:creationId xmlns:a16="http://schemas.microsoft.com/office/drawing/2014/main" id="{C1C8E9F5-5846-45F0-9E02-D14844D69038}"/>
              </a:ext>
            </a:extLst>
          </p:cNvPr>
          <p:cNvSpPr/>
          <p:nvPr/>
        </p:nvSpPr>
        <p:spPr>
          <a:xfrm>
            <a:off x="911349" y="4801457"/>
            <a:ext cx="10880725" cy="696189"/>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lt;statement&gt;</a:t>
            </a:r>
          </a:p>
          <a:p>
            <a:r>
              <a:rPr lang="en-US" dirty="0">
                <a:solidFill>
                  <a:srgbClr val="0000FF"/>
                </a:solidFill>
                <a:latin typeface="Consolas" panose="020B0609020204030204" pitchFamily="49" charset="0"/>
              </a:rPr>
              <a:t>OPTION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DISABLE_INTERLEAVED_EXECUTION_TVF'</a:t>
            </a:r>
            <a:r>
              <a:rPr lang="en-US" dirty="0">
                <a:solidFill>
                  <a:srgbClr val="808080"/>
                </a:solidFill>
                <a:latin typeface="Consolas" panose="020B0609020204030204" pitchFamily="49" charset="0"/>
              </a:rPr>
              <a:t>));</a:t>
            </a:r>
            <a:endParaRPr lang="en-US" sz="1800" dirty="0">
              <a:solidFill>
                <a:prstClr val="black"/>
              </a:solidFill>
              <a:latin typeface="Lucida Console" panose="020B0609040504020204" pitchFamily="49" charset="0"/>
            </a:endParaRPr>
          </a:p>
        </p:txBody>
      </p:sp>
      <p:pic>
        <p:nvPicPr>
          <p:cNvPr id="13" name="Picture 2" descr="Adaptive Join operator icon">
            <a:extLst>
              <a:ext uri="{FF2B5EF4-FFF2-40B4-BE49-F238E27FC236}">
                <a16:creationId xmlns:a16="http://schemas.microsoft.com/office/drawing/2014/main" id="{BDFA756D-3080-467C-A3AC-4BB7340A2D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8000" y="519705"/>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94183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emory Grant Feedback (Batch Mode)</a:t>
            </a:r>
          </a:p>
        </p:txBody>
      </p:sp>
      <p:sp>
        <p:nvSpPr>
          <p:cNvPr id="8" name="Subtitle 7">
            <a:extLst>
              <a:ext uri="{FF2B5EF4-FFF2-40B4-BE49-F238E27FC236}">
                <a16:creationId xmlns:a16="http://schemas.microsoft.com/office/drawing/2014/main" id="{8D7D1CCB-6C33-4DAA-9151-02632FC5360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B00891A9-DEA0-492A-A431-5CEB4E74BDEB}"/>
              </a:ext>
            </a:extLst>
          </p:cNvPr>
          <p:cNvPicPr>
            <a:picLocks noChangeAspect="1"/>
          </p:cNvPicPr>
          <p:nvPr/>
        </p:nvPicPr>
        <p:blipFill>
          <a:blip r:embed="rId3"/>
          <a:stretch>
            <a:fillRect/>
          </a:stretch>
        </p:blipFill>
        <p:spPr>
          <a:xfrm>
            <a:off x="4267200" y="2188638"/>
            <a:ext cx="7713250" cy="1545566"/>
          </a:xfrm>
          <a:prstGeom prst="rect">
            <a:avLst/>
          </a:prstGeom>
        </p:spPr>
      </p:pic>
      <p:sp>
        <p:nvSpPr>
          <p:cNvPr id="6" name="Rectangle 5">
            <a:extLst>
              <a:ext uri="{FF2B5EF4-FFF2-40B4-BE49-F238E27FC236}">
                <a16:creationId xmlns:a16="http://schemas.microsoft.com/office/drawing/2014/main" id="{4E5875F7-E805-4DD7-AEE4-1E443FC74EB6}"/>
              </a:ext>
            </a:extLst>
          </p:cNvPr>
          <p:cNvSpPr/>
          <p:nvPr/>
        </p:nvSpPr>
        <p:spPr>
          <a:xfrm>
            <a:off x="4267200" y="1524000"/>
            <a:ext cx="5144714" cy="4692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dirty="0">
                <a:solidFill>
                  <a:prstClr val="white"/>
                </a:solidFill>
                <a:latin typeface="Calibri" panose="020F0502020204030204"/>
              </a:rPr>
              <a:t>First Execution (Spills detected; feedback generated)</a:t>
            </a:r>
          </a:p>
        </p:txBody>
      </p:sp>
      <p:pic>
        <p:nvPicPr>
          <p:cNvPr id="7" name="Picture 6">
            <a:extLst>
              <a:ext uri="{FF2B5EF4-FFF2-40B4-BE49-F238E27FC236}">
                <a16:creationId xmlns:a16="http://schemas.microsoft.com/office/drawing/2014/main" id="{47774C25-286D-4711-B033-EE7733D22408}"/>
              </a:ext>
            </a:extLst>
          </p:cNvPr>
          <p:cNvPicPr>
            <a:picLocks noChangeAspect="1"/>
          </p:cNvPicPr>
          <p:nvPr/>
        </p:nvPicPr>
        <p:blipFill>
          <a:blip r:embed="rId4"/>
          <a:stretch>
            <a:fillRect/>
          </a:stretch>
        </p:blipFill>
        <p:spPr>
          <a:xfrm>
            <a:off x="4267200" y="2872505"/>
            <a:ext cx="2187122" cy="1057110"/>
          </a:xfrm>
          <a:prstGeom prst="rect">
            <a:avLst/>
          </a:prstGeom>
        </p:spPr>
      </p:pic>
      <p:pic>
        <p:nvPicPr>
          <p:cNvPr id="10" name="Picture 9">
            <a:extLst>
              <a:ext uri="{FF2B5EF4-FFF2-40B4-BE49-F238E27FC236}">
                <a16:creationId xmlns:a16="http://schemas.microsoft.com/office/drawing/2014/main" id="{7DEDF4AB-284D-459C-93B8-C1053307F741}"/>
              </a:ext>
            </a:extLst>
          </p:cNvPr>
          <p:cNvPicPr>
            <a:picLocks noChangeAspect="1"/>
          </p:cNvPicPr>
          <p:nvPr/>
        </p:nvPicPr>
        <p:blipFill>
          <a:blip r:embed="rId5"/>
          <a:stretch>
            <a:fillRect/>
          </a:stretch>
        </p:blipFill>
        <p:spPr>
          <a:xfrm>
            <a:off x="4273296" y="4708177"/>
            <a:ext cx="7727831" cy="1479953"/>
          </a:xfrm>
          <a:prstGeom prst="rect">
            <a:avLst/>
          </a:prstGeom>
        </p:spPr>
      </p:pic>
      <p:pic>
        <p:nvPicPr>
          <p:cNvPr id="11" name="Picture 10">
            <a:extLst>
              <a:ext uri="{FF2B5EF4-FFF2-40B4-BE49-F238E27FC236}">
                <a16:creationId xmlns:a16="http://schemas.microsoft.com/office/drawing/2014/main" id="{E536A979-F355-43F6-8BB2-4400F8C54343}"/>
              </a:ext>
            </a:extLst>
          </p:cNvPr>
          <p:cNvPicPr>
            <a:picLocks noChangeAspect="1"/>
          </p:cNvPicPr>
          <p:nvPr/>
        </p:nvPicPr>
        <p:blipFill>
          <a:blip r:embed="rId6"/>
          <a:stretch>
            <a:fillRect/>
          </a:stretch>
        </p:blipFill>
        <p:spPr>
          <a:xfrm>
            <a:off x="4273296" y="5417321"/>
            <a:ext cx="2208994" cy="976915"/>
          </a:xfrm>
          <a:prstGeom prst="rect">
            <a:avLst/>
          </a:prstGeom>
        </p:spPr>
      </p:pic>
      <p:sp>
        <p:nvSpPr>
          <p:cNvPr id="13" name="Rectangle 12">
            <a:extLst>
              <a:ext uri="{FF2B5EF4-FFF2-40B4-BE49-F238E27FC236}">
                <a16:creationId xmlns:a16="http://schemas.microsoft.com/office/drawing/2014/main" id="{61A4EF2A-9CD6-4F81-A953-B367ECFEB2CA}"/>
              </a:ext>
            </a:extLst>
          </p:cNvPr>
          <p:cNvSpPr/>
          <p:nvPr/>
        </p:nvSpPr>
        <p:spPr bwMode="auto">
          <a:xfrm>
            <a:off x="5377793" y="2023227"/>
            <a:ext cx="2007794" cy="84927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4" name="Diagram 13">
            <a:extLst>
              <a:ext uri="{FF2B5EF4-FFF2-40B4-BE49-F238E27FC236}">
                <a16:creationId xmlns:a16="http://schemas.microsoft.com/office/drawing/2014/main" id="{AB7BD9DA-F2E1-4F40-9193-F7C0E8AC6A24}"/>
              </a:ext>
            </a:extLst>
          </p:cNvPr>
          <p:cNvGraphicFramePr/>
          <p:nvPr>
            <p:extLst>
              <p:ext uri="{D42A27DB-BD31-4B8C-83A1-F6EECF244321}">
                <p14:modId xmlns:p14="http://schemas.microsoft.com/office/powerpoint/2010/main" val="1583839394"/>
              </p:ext>
            </p:extLst>
          </p:nvPr>
        </p:nvGraphicFramePr>
        <p:xfrm>
          <a:off x="416708" y="1316168"/>
          <a:ext cx="3469492"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6" name="Rectangle 15">
            <a:extLst>
              <a:ext uri="{FF2B5EF4-FFF2-40B4-BE49-F238E27FC236}">
                <a16:creationId xmlns:a16="http://schemas.microsoft.com/office/drawing/2014/main" id="{16ACA1FF-EB07-4914-B834-218D850E5F63}"/>
              </a:ext>
            </a:extLst>
          </p:cNvPr>
          <p:cNvSpPr/>
          <p:nvPr/>
        </p:nvSpPr>
        <p:spPr>
          <a:xfrm>
            <a:off x="4273296" y="4155114"/>
            <a:ext cx="5144714" cy="4692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1836" dirty="0">
                <a:solidFill>
                  <a:prstClr val="white"/>
                </a:solidFill>
                <a:latin typeface="Calibri" panose="020F0502020204030204"/>
              </a:rPr>
              <a:t>Second Execution (Memory grant adjusted)</a:t>
            </a:r>
          </a:p>
        </p:txBody>
      </p:sp>
    </p:spTree>
    <p:extLst>
      <p:ext uri="{BB962C8B-B14F-4D97-AF65-F5344CB8AC3E}">
        <p14:creationId xmlns:p14="http://schemas.microsoft.com/office/powerpoint/2010/main" val="3568901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emory Grant Feedback (Batch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Enabling/Disabling Memory Grant Feedback (Batch Mode)</a:t>
            </a:r>
          </a:p>
        </p:txBody>
      </p:sp>
      <p:sp>
        <p:nvSpPr>
          <p:cNvPr id="5" name="Content Placeholder 3">
            <a:extLst>
              <a:ext uri="{FF2B5EF4-FFF2-40B4-BE49-F238E27FC236}">
                <a16:creationId xmlns:a16="http://schemas.microsoft.com/office/drawing/2014/main" id="{1AD8A9F0-64D5-48AF-A056-EB187C5F6CEC}"/>
              </a:ext>
            </a:extLst>
          </p:cNvPr>
          <p:cNvSpPr>
            <a:spLocks noGrp="1"/>
          </p:cNvSpPr>
          <p:nvPr>
            <p:ph sz="quarter" idx="13"/>
          </p:nvPr>
        </p:nvSpPr>
        <p:spPr>
          <a:xfrm>
            <a:off x="655638" y="1408113"/>
            <a:ext cx="10880726" cy="4663503"/>
          </a:xfrm>
        </p:spPr>
        <p:txBody>
          <a:bodyPr>
            <a:normAutofit/>
          </a:bodyPr>
          <a:lstStyle/>
          <a:p>
            <a:r>
              <a:rPr lang="en-US" dirty="0"/>
              <a:t>Enabled by default in Compatibility level 140 or higher.</a:t>
            </a:r>
          </a:p>
          <a:p>
            <a:r>
              <a:rPr lang="en-US" dirty="0"/>
              <a:t>To disable change compatibility level to 130 or lower (not recommended).</a:t>
            </a:r>
          </a:p>
          <a:p>
            <a:r>
              <a:rPr lang="en-US" dirty="0"/>
              <a:t>You can enable/disable it at the database level</a:t>
            </a:r>
          </a:p>
          <a:p>
            <a:pPr marL="310896" lvl="1" indent="0">
              <a:buNone/>
            </a:pPr>
            <a:r>
              <a:rPr lang="en-US" dirty="0"/>
              <a:t>SQL Server 2017.</a:t>
            </a:r>
          </a:p>
          <a:p>
            <a:pPr marL="0" indent="0">
              <a:buNone/>
            </a:pPr>
            <a:endParaRPr lang="en-US" dirty="0"/>
          </a:p>
          <a:p>
            <a:pPr marL="310896" lvl="1" indent="0">
              <a:buNone/>
            </a:pPr>
            <a:r>
              <a:rPr lang="en-US" dirty="0"/>
              <a:t>Azure SQL Database, SQL Server 2019 and higher</a:t>
            </a:r>
          </a:p>
          <a:p>
            <a:pPr marL="0" indent="0">
              <a:buNone/>
            </a:pPr>
            <a:endParaRPr lang="en-US" dirty="0"/>
          </a:p>
          <a:p>
            <a:r>
              <a:rPr lang="en-US" dirty="0"/>
              <a:t>You can disable it at statement scope if necessary.</a:t>
            </a:r>
          </a:p>
        </p:txBody>
      </p:sp>
      <p:sp>
        <p:nvSpPr>
          <p:cNvPr id="6" name="Rectangle 5">
            <a:extLst>
              <a:ext uri="{FF2B5EF4-FFF2-40B4-BE49-F238E27FC236}">
                <a16:creationId xmlns:a16="http://schemas.microsoft.com/office/drawing/2014/main" id="{1299D8ED-9125-42F0-BC98-71AC4A50AC72}"/>
              </a:ext>
            </a:extLst>
          </p:cNvPr>
          <p:cNvSpPr/>
          <p:nvPr/>
        </p:nvSpPr>
        <p:spPr>
          <a:xfrm>
            <a:off x="914398" y="3099484"/>
            <a:ext cx="11277602" cy="4616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DISABLE_BATCH_MODE_MEMORY_GRANT_FEEDBACK</a:t>
            </a:r>
            <a:r>
              <a:rPr lang="en-US" dirty="0">
                <a:solidFill>
                  <a:srgbClr val="808080"/>
                </a:solidFill>
                <a:latin typeface="Consolas" panose="020B0609020204030204" pitchFamily="49" charset="0"/>
              </a:rPr>
              <a:t>=</a:t>
            </a:r>
            <a:r>
              <a:rPr lang="en-US" b="1" dirty="0">
                <a:solidFill>
                  <a:srgbClr val="0000FF"/>
                </a:solidFill>
                <a:latin typeface="Consolas" panose="020B0609020204030204" pitchFamily="49" charset="0"/>
              </a:rPr>
              <a:t>ON</a:t>
            </a:r>
            <a:r>
              <a:rPr lang="en-US" dirty="0">
                <a:solidFill>
                  <a:srgbClr val="0000FF"/>
                </a:solidFill>
                <a:latin typeface="Consolas" panose="020B0609020204030204" pitchFamily="49" charset="0"/>
              </a:rPr>
              <a:t>|OFF</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p:txBody>
      </p:sp>
      <p:sp>
        <p:nvSpPr>
          <p:cNvPr id="7" name="Rectangle 6">
            <a:extLst>
              <a:ext uri="{FF2B5EF4-FFF2-40B4-BE49-F238E27FC236}">
                <a16:creationId xmlns:a16="http://schemas.microsoft.com/office/drawing/2014/main" id="{35E21671-58AB-46FA-8C84-E2DBA2787BCF}"/>
              </a:ext>
            </a:extLst>
          </p:cNvPr>
          <p:cNvSpPr/>
          <p:nvPr/>
        </p:nvSpPr>
        <p:spPr>
          <a:xfrm>
            <a:off x="914398" y="3909130"/>
            <a:ext cx="11049002" cy="4616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BATCH_MODE_MEMORY_GRANT_FEEDBACK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b="1" dirty="0">
                <a:solidFill>
                  <a:srgbClr val="0000FF"/>
                </a:solidFill>
                <a:latin typeface="Consolas" panose="020B0609020204030204" pitchFamily="49" charset="0"/>
              </a:rPr>
              <a:t>ON</a:t>
            </a:r>
            <a:r>
              <a:rPr lang="en-US" dirty="0">
                <a:solidFill>
                  <a:srgbClr val="0000FF"/>
                </a:solidFill>
                <a:latin typeface="Consolas" panose="020B0609020204030204" pitchFamily="49" charset="0"/>
              </a:rPr>
              <a:t>|OFF</a:t>
            </a:r>
            <a:r>
              <a:rPr lang="en-US" dirty="0">
                <a:solidFill>
                  <a:srgbClr val="808080"/>
                </a:solidFill>
                <a:latin typeface="Consolas" panose="020B0609020204030204" pitchFamily="49" charset="0"/>
              </a:rPr>
              <a:t>;</a:t>
            </a:r>
            <a:endParaRPr lang="en-US" sz="1800" dirty="0">
              <a:solidFill>
                <a:prstClr val="black"/>
              </a:solidFill>
              <a:latin typeface="Lucida Console" panose="020B0609040504020204" pitchFamily="49" charset="0"/>
            </a:endParaRPr>
          </a:p>
        </p:txBody>
      </p:sp>
      <p:sp>
        <p:nvSpPr>
          <p:cNvPr id="8" name="Rectangle 7">
            <a:extLst>
              <a:ext uri="{FF2B5EF4-FFF2-40B4-BE49-F238E27FC236}">
                <a16:creationId xmlns:a16="http://schemas.microsoft.com/office/drawing/2014/main" id="{08AF5E7D-8C05-4C56-84A2-4EDBD776ECBB}"/>
              </a:ext>
            </a:extLst>
          </p:cNvPr>
          <p:cNvSpPr/>
          <p:nvPr/>
        </p:nvSpPr>
        <p:spPr>
          <a:xfrm>
            <a:off x="914398" y="4845937"/>
            <a:ext cx="10880725" cy="696189"/>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lt;statement&gt;</a:t>
            </a:r>
          </a:p>
          <a:p>
            <a:r>
              <a:rPr lang="en-US" dirty="0">
                <a:solidFill>
                  <a:srgbClr val="0000FF"/>
                </a:solidFill>
                <a:latin typeface="Consolas" panose="020B0609020204030204" pitchFamily="49" charset="0"/>
              </a:rPr>
              <a:t>OPTION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0000FF"/>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DISABLE_BATCH_MODE_MEMORY_GRANT_FEEDBACK'</a:t>
            </a:r>
            <a:r>
              <a:rPr lang="en-US" dirty="0">
                <a:solidFill>
                  <a:srgbClr val="808080"/>
                </a:solidFill>
                <a:latin typeface="Consolas" panose="020B0609020204030204" pitchFamily="49" charset="0"/>
              </a:rPr>
              <a:t>))</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8778782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emory Grant Feedback (Row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sp>
        <p:nvSpPr>
          <p:cNvPr id="10" name="Content Placeholder 9">
            <a:extLst>
              <a:ext uri="{FF2B5EF4-FFF2-40B4-BE49-F238E27FC236}">
                <a16:creationId xmlns:a16="http://schemas.microsoft.com/office/drawing/2014/main" id="{2112D96C-AB9F-4924-8996-4DEFF0DEC136}"/>
              </a:ext>
            </a:extLst>
          </p:cNvPr>
          <p:cNvSpPr>
            <a:spLocks noGrp="1"/>
          </p:cNvSpPr>
          <p:nvPr>
            <p:ph sz="quarter" idx="13"/>
          </p:nvPr>
        </p:nvSpPr>
        <p:spPr>
          <a:xfrm>
            <a:off x="655638" y="1408114"/>
            <a:ext cx="10911204" cy="1030286"/>
          </a:xfrm>
        </p:spPr>
        <p:txBody>
          <a:bodyPr/>
          <a:lstStyle/>
          <a:p>
            <a:pPr marL="0" indent="0">
              <a:buNone/>
            </a:pPr>
            <a:r>
              <a:rPr lang="en-US" dirty="0"/>
              <a:t>Expands on the batch mode memory grant feedback feature by also adjusting memory grant sizes for row mode operators.</a:t>
            </a:r>
          </a:p>
          <a:p>
            <a:pPr marL="0" indent="0">
              <a:buNone/>
            </a:pPr>
            <a:endParaRPr lang="en-US" dirty="0"/>
          </a:p>
          <a:p>
            <a:endParaRPr lang="en-US" dirty="0"/>
          </a:p>
        </p:txBody>
      </p:sp>
      <p:pic>
        <p:nvPicPr>
          <p:cNvPr id="6" name="Picture 5">
            <a:extLst>
              <a:ext uri="{FF2B5EF4-FFF2-40B4-BE49-F238E27FC236}">
                <a16:creationId xmlns:a16="http://schemas.microsoft.com/office/drawing/2014/main" id="{3E011ADC-9AED-4A4A-A6ED-0A60F49999A4}"/>
              </a:ext>
            </a:extLst>
          </p:cNvPr>
          <p:cNvPicPr>
            <a:picLocks noChangeAspect="1"/>
          </p:cNvPicPr>
          <p:nvPr/>
        </p:nvPicPr>
        <p:blipFill>
          <a:blip r:embed="rId3"/>
          <a:stretch>
            <a:fillRect/>
          </a:stretch>
        </p:blipFill>
        <p:spPr>
          <a:xfrm>
            <a:off x="6995123" y="2809054"/>
            <a:ext cx="4541239" cy="2441449"/>
          </a:xfrm>
          <a:prstGeom prst="rect">
            <a:avLst/>
          </a:prstGeom>
        </p:spPr>
      </p:pic>
      <p:sp>
        <p:nvSpPr>
          <p:cNvPr id="5" name="Rectangle 4">
            <a:extLst>
              <a:ext uri="{FF2B5EF4-FFF2-40B4-BE49-F238E27FC236}">
                <a16:creationId xmlns:a16="http://schemas.microsoft.com/office/drawing/2014/main" id="{2B7D7BFF-B109-48DC-A1A6-A8028CBE207C}"/>
              </a:ext>
            </a:extLst>
          </p:cNvPr>
          <p:cNvSpPr/>
          <p:nvPr/>
        </p:nvSpPr>
        <p:spPr>
          <a:xfrm>
            <a:off x="655637" y="3060283"/>
            <a:ext cx="6096000" cy="1938992"/>
          </a:xfrm>
          <a:prstGeom prst="rect">
            <a:avLst/>
          </a:prstGeom>
        </p:spPr>
        <p:txBody>
          <a:bodyPr>
            <a:spAutoFit/>
          </a:bodyPr>
          <a:lstStyle/>
          <a:p>
            <a:r>
              <a:rPr lang="en-US" sz="2400" dirty="0"/>
              <a:t>Two new query plan attributes will be shown for actual post-execution plans: </a:t>
            </a:r>
          </a:p>
          <a:p>
            <a:endParaRPr lang="en-US" sz="2400" dirty="0"/>
          </a:p>
          <a:p>
            <a:pPr marL="342900" indent="-342900">
              <a:buFont typeface="Arial" panose="020B0604020202020204" pitchFamily="34" charset="0"/>
              <a:buChar char="•"/>
            </a:pPr>
            <a:r>
              <a:rPr lang="en-US" sz="2400" dirty="0"/>
              <a:t>IsMemoryGrantFeedbackAdjusted</a:t>
            </a:r>
          </a:p>
          <a:p>
            <a:pPr marL="342900" indent="-342900">
              <a:buFont typeface="Arial" panose="020B0604020202020204" pitchFamily="34" charset="0"/>
              <a:buChar char="•"/>
            </a:pPr>
            <a:r>
              <a:rPr lang="en-US" sz="2400" dirty="0"/>
              <a:t>LastRequestedMemory</a:t>
            </a:r>
          </a:p>
        </p:txBody>
      </p:sp>
    </p:spTree>
    <p:extLst>
      <p:ext uri="{BB962C8B-B14F-4D97-AF65-F5344CB8AC3E}">
        <p14:creationId xmlns:p14="http://schemas.microsoft.com/office/powerpoint/2010/main" val="37021635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emory Grant Feedback (Row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Enabling/Disabling Memory Grant Feedback (Batch Mode)</a:t>
            </a:r>
          </a:p>
        </p:txBody>
      </p:sp>
      <p:sp>
        <p:nvSpPr>
          <p:cNvPr id="5" name="Content Placeholder 3">
            <a:extLst>
              <a:ext uri="{FF2B5EF4-FFF2-40B4-BE49-F238E27FC236}">
                <a16:creationId xmlns:a16="http://schemas.microsoft.com/office/drawing/2014/main" id="{1AD8A9F0-64D5-48AF-A056-EB187C5F6CEC}"/>
              </a:ext>
            </a:extLst>
          </p:cNvPr>
          <p:cNvSpPr>
            <a:spLocks noGrp="1"/>
          </p:cNvSpPr>
          <p:nvPr>
            <p:ph sz="quarter" idx="13"/>
          </p:nvPr>
        </p:nvSpPr>
        <p:spPr>
          <a:xfrm>
            <a:off x="655638" y="1408113"/>
            <a:ext cx="10880726" cy="4663503"/>
          </a:xfrm>
        </p:spPr>
        <p:txBody>
          <a:bodyPr>
            <a:normAutofit/>
          </a:bodyPr>
          <a:lstStyle/>
          <a:p>
            <a:r>
              <a:rPr lang="en-US" dirty="0"/>
              <a:t>Enabled by default in Compatibility level 150 or higher.</a:t>
            </a:r>
          </a:p>
          <a:p>
            <a:r>
              <a:rPr lang="en-US" dirty="0"/>
              <a:t>To disable change compatibility level to 140 or lower (not recommended).</a:t>
            </a:r>
          </a:p>
          <a:p>
            <a:r>
              <a:rPr lang="en-US" dirty="0"/>
              <a:t>You can enable/disable it at the database level.</a:t>
            </a:r>
          </a:p>
          <a:p>
            <a:pPr marL="0" indent="0">
              <a:buNone/>
            </a:pPr>
            <a:endParaRPr lang="en-US" dirty="0"/>
          </a:p>
          <a:p>
            <a:r>
              <a:rPr lang="en-US" dirty="0"/>
              <a:t>You can disable it at statement scope if necessary.</a:t>
            </a:r>
          </a:p>
          <a:p>
            <a:pPr marL="0" indent="0">
              <a:buNone/>
            </a:pPr>
            <a:endParaRPr lang="en-US" dirty="0"/>
          </a:p>
        </p:txBody>
      </p:sp>
      <p:sp>
        <p:nvSpPr>
          <p:cNvPr id="6" name="Rectangle 5">
            <a:extLst>
              <a:ext uri="{FF2B5EF4-FFF2-40B4-BE49-F238E27FC236}">
                <a16:creationId xmlns:a16="http://schemas.microsoft.com/office/drawing/2014/main" id="{1299D8ED-9125-42F0-BC98-71AC4A50AC72}"/>
              </a:ext>
            </a:extLst>
          </p:cNvPr>
          <p:cNvSpPr/>
          <p:nvPr/>
        </p:nvSpPr>
        <p:spPr>
          <a:xfrm>
            <a:off x="990600" y="2753464"/>
            <a:ext cx="11049002" cy="4616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ROW_MODE_MEMORY_GRANT_FEEDBACK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b="1" dirty="0">
                <a:solidFill>
                  <a:srgbClr val="0000FF"/>
                </a:solidFill>
                <a:latin typeface="Consolas" panose="020B0609020204030204" pitchFamily="49" charset="0"/>
              </a:rPr>
              <a:t>ON</a:t>
            </a:r>
            <a:r>
              <a:rPr lang="en-US" dirty="0">
                <a:solidFill>
                  <a:srgbClr val="0000FF"/>
                </a:solidFill>
                <a:latin typeface="Consolas" panose="020B0609020204030204" pitchFamily="49" charset="0"/>
              </a:rPr>
              <a:t>|OFF</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p:txBody>
      </p:sp>
      <p:sp>
        <p:nvSpPr>
          <p:cNvPr id="8" name="Rectangle 7">
            <a:extLst>
              <a:ext uri="{FF2B5EF4-FFF2-40B4-BE49-F238E27FC236}">
                <a16:creationId xmlns:a16="http://schemas.microsoft.com/office/drawing/2014/main" id="{08AF5E7D-8C05-4C56-84A2-4EDBD776ECBB}"/>
              </a:ext>
            </a:extLst>
          </p:cNvPr>
          <p:cNvSpPr/>
          <p:nvPr/>
        </p:nvSpPr>
        <p:spPr>
          <a:xfrm>
            <a:off x="990600" y="3653070"/>
            <a:ext cx="10880725" cy="696189"/>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lt;statement&gt;</a:t>
            </a:r>
          </a:p>
          <a:p>
            <a:r>
              <a:rPr lang="en-US" dirty="0">
                <a:solidFill>
                  <a:srgbClr val="0000FF"/>
                </a:solidFill>
                <a:latin typeface="Consolas" panose="020B0609020204030204" pitchFamily="49" charset="0"/>
              </a:rPr>
              <a:t>OPTION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0000FF"/>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DISABLE_ROW_MODE_MEMORY_GRANT_FEEDBACK'</a:t>
            </a:r>
            <a:r>
              <a:rPr lang="en-US" dirty="0">
                <a:solidFill>
                  <a:srgbClr val="808080"/>
                </a:solidFill>
                <a:latin typeface="Consolas" panose="020B0609020204030204" pitchFamily="49" charset="0"/>
              </a:rPr>
              <a:t>));</a:t>
            </a:r>
            <a:endParaRPr lang="en-US" dirty="0">
              <a:solidFill>
                <a:srgbClr val="0000FF"/>
              </a:solidFill>
              <a:latin typeface="Consolas" panose="020B0609020204030204" pitchFamily="49" charset="0"/>
            </a:endParaRPr>
          </a:p>
        </p:txBody>
      </p:sp>
    </p:spTree>
    <p:extLst>
      <p:ext uri="{BB962C8B-B14F-4D97-AF65-F5344CB8AC3E}">
        <p14:creationId xmlns:p14="http://schemas.microsoft.com/office/powerpoint/2010/main" val="20143776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Table Variable Deferred Compil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Overview</a:t>
            </a:r>
            <a:endParaRPr lang="en-US" dirty="0"/>
          </a:p>
        </p:txBody>
      </p:sp>
      <p:sp>
        <p:nvSpPr>
          <p:cNvPr id="7" name="Content Placeholder 3">
            <a:extLst>
              <a:ext uri="{FF2B5EF4-FFF2-40B4-BE49-F238E27FC236}">
                <a16:creationId xmlns:a16="http://schemas.microsoft.com/office/drawing/2014/main" id="{F95FA022-1EDE-4EA0-925E-37D66916E572}"/>
              </a:ext>
            </a:extLst>
          </p:cNvPr>
          <p:cNvSpPr txBox="1">
            <a:spLocks/>
          </p:cNvSpPr>
          <p:nvPr/>
        </p:nvSpPr>
        <p:spPr>
          <a:xfrm>
            <a:off x="655638" y="1408114"/>
            <a:ext cx="10880726" cy="4819650"/>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endParaRPr lang="en-US" dirty="0"/>
          </a:p>
        </p:txBody>
      </p:sp>
      <p:graphicFrame>
        <p:nvGraphicFramePr>
          <p:cNvPr id="10" name="Diagram 9">
            <a:extLst>
              <a:ext uri="{FF2B5EF4-FFF2-40B4-BE49-F238E27FC236}">
                <a16:creationId xmlns:a16="http://schemas.microsoft.com/office/drawing/2014/main" id="{75AC7946-B543-4AC6-BEEB-2081C063A73D}"/>
              </a:ext>
            </a:extLst>
          </p:cNvPr>
          <p:cNvGraphicFramePr/>
          <p:nvPr>
            <p:extLst>
              <p:ext uri="{D42A27DB-BD31-4B8C-83A1-F6EECF244321}">
                <p14:modId xmlns:p14="http://schemas.microsoft.com/office/powerpoint/2010/main" val="3602233945"/>
              </p:ext>
            </p:extLst>
          </p:nvPr>
        </p:nvGraphicFramePr>
        <p:xfrm>
          <a:off x="637348" y="1248048"/>
          <a:ext cx="111252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571955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Table Variable Deferred Compil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Enabling/Disabling Table Variable Deferred Compilation</a:t>
            </a:r>
          </a:p>
        </p:txBody>
      </p:sp>
      <p:sp>
        <p:nvSpPr>
          <p:cNvPr id="5" name="Content Placeholder 3">
            <a:extLst>
              <a:ext uri="{FF2B5EF4-FFF2-40B4-BE49-F238E27FC236}">
                <a16:creationId xmlns:a16="http://schemas.microsoft.com/office/drawing/2014/main" id="{1AD8A9F0-64D5-48AF-A056-EB187C5F6CEC}"/>
              </a:ext>
            </a:extLst>
          </p:cNvPr>
          <p:cNvSpPr>
            <a:spLocks noGrp="1"/>
          </p:cNvSpPr>
          <p:nvPr>
            <p:ph sz="quarter" idx="13"/>
          </p:nvPr>
        </p:nvSpPr>
        <p:spPr>
          <a:xfrm>
            <a:off x="655638" y="1408113"/>
            <a:ext cx="10880726" cy="4663503"/>
          </a:xfrm>
        </p:spPr>
        <p:txBody>
          <a:bodyPr>
            <a:normAutofit/>
          </a:bodyPr>
          <a:lstStyle/>
          <a:p>
            <a:r>
              <a:rPr lang="en-US" dirty="0"/>
              <a:t>Enabled by default in Compatibility level 150 or higher.</a:t>
            </a:r>
          </a:p>
          <a:p>
            <a:r>
              <a:rPr lang="en-US" dirty="0"/>
              <a:t>To disable change compatibility level to 140 or lower (not recommended).</a:t>
            </a:r>
          </a:p>
          <a:p>
            <a:r>
              <a:rPr lang="en-US" dirty="0"/>
              <a:t>You can enable/disable it at the database level.</a:t>
            </a:r>
          </a:p>
          <a:p>
            <a:endParaRPr lang="en-US" dirty="0"/>
          </a:p>
          <a:p>
            <a:r>
              <a:rPr lang="en-US" dirty="0"/>
              <a:t>You can disable it at statement scope if necessary.</a:t>
            </a:r>
          </a:p>
        </p:txBody>
      </p:sp>
      <p:sp>
        <p:nvSpPr>
          <p:cNvPr id="6" name="Rectangle 5">
            <a:extLst>
              <a:ext uri="{FF2B5EF4-FFF2-40B4-BE49-F238E27FC236}">
                <a16:creationId xmlns:a16="http://schemas.microsoft.com/office/drawing/2014/main" id="{1299D8ED-9125-42F0-BC98-71AC4A50AC72}"/>
              </a:ext>
            </a:extLst>
          </p:cNvPr>
          <p:cNvSpPr/>
          <p:nvPr/>
        </p:nvSpPr>
        <p:spPr>
          <a:xfrm>
            <a:off x="926590" y="2692767"/>
            <a:ext cx="11049002" cy="4616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DEFERRED_COMPILATION_TV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b="1" dirty="0">
                <a:solidFill>
                  <a:srgbClr val="0000FF"/>
                </a:solidFill>
                <a:latin typeface="Consolas" panose="020B0609020204030204" pitchFamily="49" charset="0"/>
              </a:rPr>
              <a:t>ON</a:t>
            </a:r>
            <a:r>
              <a:rPr lang="en-US" dirty="0">
                <a:solidFill>
                  <a:srgbClr val="0000FF"/>
                </a:solidFill>
                <a:latin typeface="Consolas" panose="020B0609020204030204" pitchFamily="49" charset="0"/>
              </a:rPr>
              <a:t>|OFF</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p:txBody>
      </p:sp>
      <p:sp>
        <p:nvSpPr>
          <p:cNvPr id="8" name="Rectangle 7">
            <a:extLst>
              <a:ext uri="{FF2B5EF4-FFF2-40B4-BE49-F238E27FC236}">
                <a16:creationId xmlns:a16="http://schemas.microsoft.com/office/drawing/2014/main" id="{08AF5E7D-8C05-4C56-84A2-4EDBD776ECBB}"/>
              </a:ext>
            </a:extLst>
          </p:cNvPr>
          <p:cNvSpPr/>
          <p:nvPr/>
        </p:nvSpPr>
        <p:spPr>
          <a:xfrm>
            <a:off x="926590" y="3667147"/>
            <a:ext cx="10880725" cy="1891754"/>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lt;table variable declaration&gt;</a:t>
            </a:r>
          </a:p>
          <a:p>
            <a:endParaRPr lang="en-US" dirty="0">
              <a:solidFill>
                <a:srgbClr val="0000FF"/>
              </a:solidFill>
              <a:latin typeface="Consolas" panose="020B0609020204030204" pitchFamily="49" charset="0"/>
            </a:endParaRPr>
          </a:p>
          <a:p>
            <a:r>
              <a:rPr lang="en-US" dirty="0">
                <a:solidFill>
                  <a:srgbClr val="0000FF"/>
                </a:solidFill>
                <a:latin typeface="Consolas" panose="020B0609020204030204" pitchFamily="49" charset="0"/>
              </a:rPr>
              <a:t>&lt;data inserted into table variable &gt;</a:t>
            </a:r>
          </a:p>
          <a:p>
            <a:endParaRPr lang="en-US" dirty="0">
              <a:solidFill>
                <a:srgbClr val="0000FF"/>
              </a:solidFill>
              <a:latin typeface="Consolas" panose="020B0609020204030204" pitchFamily="49" charset="0"/>
            </a:endParaRPr>
          </a:p>
          <a:p>
            <a:r>
              <a:rPr lang="en-US" dirty="0">
                <a:solidFill>
                  <a:srgbClr val="0000FF"/>
                </a:solidFill>
                <a:latin typeface="Consolas" panose="020B0609020204030204" pitchFamily="49" charset="0"/>
              </a:rPr>
              <a:t>&lt;statement that uses the table variable&gt;</a:t>
            </a:r>
          </a:p>
          <a:p>
            <a:r>
              <a:rPr lang="en-US" dirty="0">
                <a:solidFill>
                  <a:srgbClr val="0000FF"/>
                </a:solidFill>
                <a:latin typeface="Consolas" panose="020B0609020204030204" pitchFamily="49" charset="0"/>
              </a:rPr>
              <a:t>OPTION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DISABLE_DEFERRED_COMPILATION_TV'</a:t>
            </a:r>
            <a:r>
              <a:rPr lang="en-US" dirty="0">
                <a:solidFill>
                  <a:srgbClr val="808080"/>
                </a:solidFill>
                <a:latin typeface="Consolas" panose="020B0609020204030204" pitchFamily="49" charset="0"/>
              </a:rPr>
              <a:t>));</a:t>
            </a:r>
            <a:endParaRPr lang="en-US" dirty="0">
              <a:solidFill>
                <a:srgbClr val="0000FF"/>
              </a:solidFill>
              <a:latin typeface="Consolas" panose="020B0609020204030204" pitchFamily="49" charset="0"/>
            </a:endParaRPr>
          </a:p>
        </p:txBody>
      </p:sp>
    </p:spTree>
    <p:extLst>
      <p:ext uri="{BB962C8B-B14F-4D97-AF65-F5344CB8AC3E}">
        <p14:creationId xmlns:p14="http://schemas.microsoft.com/office/powerpoint/2010/main" val="3484407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88182" y="3833856"/>
            <a:ext cx="3352800" cy="1164985"/>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Rounded Rectangle 7"/>
          <p:cNvSpPr/>
          <p:nvPr/>
        </p:nvSpPr>
        <p:spPr>
          <a:xfrm>
            <a:off x="1588182" y="2330851"/>
            <a:ext cx="3352800" cy="14302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Rounded Rectangle 8"/>
          <p:cNvSpPr/>
          <p:nvPr/>
        </p:nvSpPr>
        <p:spPr>
          <a:xfrm>
            <a:off x="1588182" y="904047"/>
            <a:ext cx="3352800" cy="13540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Right Arrow 9"/>
          <p:cNvSpPr/>
          <p:nvPr/>
        </p:nvSpPr>
        <p:spPr>
          <a:xfrm>
            <a:off x="5044074" y="2639128"/>
            <a:ext cx="2286000"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R</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esolve</a:t>
            </a:r>
          </a:p>
        </p:txBody>
      </p:sp>
      <p:sp>
        <p:nvSpPr>
          <p:cNvPr id="13" name="Rectangle 12"/>
          <p:cNvSpPr/>
          <p:nvPr/>
        </p:nvSpPr>
        <p:spPr>
          <a:xfrm>
            <a:off x="2377074" y="25584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O</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ptimize</a:t>
            </a:r>
          </a:p>
        </p:txBody>
      </p:sp>
      <p:sp>
        <p:nvSpPr>
          <p:cNvPr id="14" name="Rectangle 13"/>
          <p:cNvSpPr/>
          <p:nvPr/>
        </p:nvSpPr>
        <p:spPr>
          <a:xfrm>
            <a:off x="2377074" y="30963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ompile</a:t>
            </a:r>
          </a:p>
        </p:txBody>
      </p:sp>
      <p:sp>
        <p:nvSpPr>
          <p:cNvPr id="15" name="Rectangle 14"/>
          <p:cNvSpPr/>
          <p:nvPr/>
        </p:nvSpPr>
        <p:spPr>
          <a:xfrm>
            <a:off x="2377074" y="41631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xecute</a:t>
            </a: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ets</a:t>
            </a:r>
          </a:p>
        </p:txBody>
      </p:sp>
      <p:sp>
        <p:nvSpPr>
          <p:cNvPr id="18" name="Rectangle 17"/>
          <p:cNvSpPr/>
          <p:nvPr/>
        </p:nvSpPr>
        <p:spPr>
          <a:xfrm>
            <a:off x="5196474" y="2854433"/>
            <a:ext cx="1981200" cy="351849"/>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rocedure Cach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Syntax</a:t>
            </a:r>
          </a:p>
        </p:txBody>
      </p:sp>
      <p:cxnSp>
        <p:nvCxnSpPr>
          <p:cNvPr id="22" name="Straight Connector 21"/>
          <p:cNvCxnSpPr/>
          <p:nvPr/>
        </p:nvCxnSpPr>
        <p:spPr>
          <a:xfrm>
            <a:off x="1234074" y="5073062"/>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xecute</a:t>
            </a:r>
          </a:p>
        </p:txBody>
      </p:sp>
      <p:sp>
        <p:nvSpPr>
          <p:cNvPr id="24" name="Right Arrow 23"/>
          <p:cNvSpPr/>
          <p:nvPr/>
        </p:nvSpPr>
        <p:spPr>
          <a:xfrm rot="5400000">
            <a:off x="7608768" y="1298020"/>
            <a:ext cx="2327965"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25" name="Right Arrow 24"/>
          <p:cNvSpPr/>
          <p:nvPr/>
        </p:nvSpPr>
        <p:spPr>
          <a:xfrm rot="5400000">
            <a:off x="8295603" y="3426199"/>
            <a:ext cx="954296"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26" name="Right Arrow 25"/>
          <p:cNvSpPr/>
          <p:nvPr/>
        </p:nvSpPr>
        <p:spPr>
          <a:xfrm rot="5400000">
            <a:off x="3051612" y="407080"/>
            <a:ext cx="410651" cy="522052"/>
          </a:xfrm>
          <a:prstGeom prst="rightArrow">
            <a:avLst/>
          </a:prstGeom>
          <a:solidFill>
            <a:schemeClr val="accent4">
              <a:lumMod val="75000"/>
            </a:schemeClr>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a:ea typeface="+mn-ea"/>
              <a:cs typeface="+mn-cs"/>
            </a:endParaRPr>
          </a:p>
        </p:txBody>
      </p:sp>
      <p:sp>
        <p:nvSpPr>
          <p:cNvPr id="27" name="Rectangle 26"/>
          <p:cNvSpPr/>
          <p:nvPr/>
        </p:nvSpPr>
        <p:spPr>
          <a:xfrm>
            <a:off x="1837757" y="25584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Compile</a:t>
            </a:r>
          </a:p>
        </p:txBody>
      </p:sp>
      <p:sp>
        <p:nvSpPr>
          <p:cNvPr id="28" name="Rectangle 27"/>
          <p:cNvSpPr/>
          <p:nvPr/>
        </p:nvSpPr>
        <p:spPr>
          <a:xfrm>
            <a:off x="1837757" y="39300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Run Time</a:t>
            </a: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Ad Hoc Query</a:t>
            </a:r>
          </a:p>
        </p:txBody>
      </p:sp>
      <p:pic>
        <p:nvPicPr>
          <p:cNvPr id="30" name="Picture 29"/>
          <p:cNvPicPr>
            <a:picLocks noChangeAspect="1"/>
          </p:cNvPicPr>
          <p:nvPr/>
        </p:nvPicPr>
        <p:blipFill>
          <a:blip r:embed="rId3"/>
          <a:stretch>
            <a:fillRect/>
          </a:stretch>
        </p:blipFill>
        <p:spPr>
          <a:xfrm>
            <a:off x="4815474" y="5168287"/>
            <a:ext cx="5328878" cy="1295400"/>
          </a:xfrm>
          <a:prstGeom prst="rect">
            <a:avLst/>
          </a:prstGeom>
        </p:spPr>
      </p:pic>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rPr>
              <a:t>Execution Context</a:t>
            </a:r>
          </a:p>
        </p:txBody>
      </p:sp>
      <p:sp>
        <p:nvSpPr>
          <p:cNvPr id="32" name="Rectangle 31"/>
          <p:cNvSpPr/>
          <p:nvPr/>
        </p:nvSpPr>
        <p:spPr>
          <a:xfrm>
            <a:off x="2377074" y="30940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ompile</a:t>
            </a:r>
          </a:p>
        </p:txBody>
      </p:sp>
      <p:sp>
        <p:nvSpPr>
          <p:cNvPr id="33" name="Rectangle 32"/>
          <p:cNvSpPr/>
          <p:nvPr/>
        </p:nvSpPr>
        <p:spPr>
          <a:xfrm>
            <a:off x="2377074" y="41608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xecute</a:t>
            </a:r>
          </a:p>
        </p:txBody>
      </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ets</a:t>
            </a:r>
          </a:p>
        </p:txBody>
      </p:sp>
      <p:sp>
        <p:nvSpPr>
          <p:cNvPr id="36" name="Rectangle 35"/>
          <p:cNvSpPr/>
          <p:nvPr/>
        </p:nvSpPr>
        <p:spPr>
          <a:xfrm>
            <a:off x="7406274" y="4385030"/>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xecute</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A2954"/>
                </a:solidFill>
                <a:effectLst/>
                <a:uLnTx/>
                <a:uFillTx/>
                <a:latin typeface="Segoe UI"/>
                <a:ea typeface="+mn-ea"/>
                <a:cs typeface="+mn-cs"/>
              </a:rPr>
              <a:t>(Binding)</a:t>
            </a:r>
          </a:p>
        </p:txBody>
      </p:sp>
      <p:grpSp>
        <p:nvGrpSpPr>
          <p:cNvPr id="39" name="Group 38">
            <a:extLst>
              <a:ext uri="{FF2B5EF4-FFF2-40B4-BE49-F238E27FC236}">
                <a16:creationId xmlns:a16="http://schemas.microsoft.com/office/drawing/2014/main" id="{A18F47DB-5EF7-4266-BC44-495FFA49056C}"/>
              </a:ext>
            </a:extLst>
          </p:cNvPr>
          <p:cNvGrpSpPr/>
          <p:nvPr/>
        </p:nvGrpSpPr>
        <p:grpSpPr>
          <a:xfrm>
            <a:off x="5245566" y="507414"/>
            <a:ext cx="2472255" cy="956993"/>
            <a:chOff x="5224158" y="389621"/>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24158" y="389621"/>
              <a:ext cx="1908107" cy="850395"/>
            </a:xfrm>
            <a:prstGeom prst="straightConnector1">
              <a:avLst/>
            </a:prstGeom>
            <a:ln w="57150">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10834" y="700283"/>
              <a:ext cx="208557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6A8E"/>
                  </a:solidFill>
                  <a:effectLst/>
                  <a:uLnTx/>
                  <a:uFillTx/>
                  <a:latin typeface="Segoe UI"/>
                  <a:ea typeface="+mn-ea"/>
                  <a:cs typeface="+mn-cs"/>
                </a:rPr>
                <a:t>First Exec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6A8E"/>
                  </a:solidFill>
                  <a:effectLst/>
                  <a:uLnTx/>
                  <a:uFillTx/>
                  <a:latin typeface="Segoe UI"/>
                  <a:ea typeface="+mn-ea"/>
                  <a:cs typeface="+mn-cs"/>
                </a:rPr>
                <a:t>  or Recompile</a:t>
              </a:r>
            </a:p>
          </p:txBody>
        </p:sp>
      </p:grpSp>
    </p:spTree>
    <p:extLst>
      <p:ext uri="{BB962C8B-B14F-4D97-AF65-F5344CB8AC3E}">
        <p14:creationId xmlns:p14="http://schemas.microsoft.com/office/powerpoint/2010/main" val="95240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pproximate Count Distinct</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2706686"/>
          </a:xfrm>
        </p:spPr>
        <p:txBody>
          <a:bodyPr>
            <a:normAutofit/>
          </a:bodyPr>
          <a:lstStyle/>
          <a:p>
            <a:pPr marL="0" indent="0">
              <a:buNone/>
            </a:pPr>
            <a:r>
              <a:rPr lang="en-US" dirty="0"/>
              <a:t>Designed for use in big data scenarios and is optimized for the following conditions:</a:t>
            </a:r>
          </a:p>
          <a:p>
            <a:r>
              <a:rPr lang="en-US" dirty="0"/>
              <a:t>Access of data sets that are millions of rows or higher and</a:t>
            </a:r>
          </a:p>
          <a:p>
            <a:r>
              <a:rPr lang="en-US" dirty="0"/>
              <a:t>Aggregation of a column or columns that have many distinct values</a:t>
            </a:r>
          </a:p>
          <a:p>
            <a:pPr marL="0" indent="0">
              <a:buNone/>
            </a:pPr>
            <a:endParaRPr lang="en-US" dirty="0"/>
          </a:p>
          <a:p>
            <a:pPr marL="0" indent="0">
              <a:buNone/>
            </a:pPr>
            <a:r>
              <a:rPr lang="en-US" b="1" dirty="0"/>
              <a:t>APPROX_COUNT_DISTINCT</a:t>
            </a:r>
            <a:r>
              <a:rPr lang="en-US" dirty="0"/>
              <a:t> </a:t>
            </a:r>
          </a:p>
        </p:txBody>
      </p:sp>
      <p:graphicFrame>
        <p:nvGraphicFramePr>
          <p:cNvPr id="6" name="Diagram 5">
            <a:extLst>
              <a:ext uri="{FF2B5EF4-FFF2-40B4-BE49-F238E27FC236}">
                <a16:creationId xmlns:a16="http://schemas.microsoft.com/office/drawing/2014/main" id="{111D002A-A0A4-4541-915F-22B1D3A7AB07}"/>
              </a:ext>
            </a:extLst>
          </p:cNvPr>
          <p:cNvGraphicFramePr/>
          <p:nvPr>
            <p:extLst>
              <p:ext uri="{D42A27DB-BD31-4B8C-83A1-F6EECF244321}">
                <p14:modId xmlns:p14="http://schemas.microsoft.com/office/powerpoint/2010/main" val="1372243924"/>
              </p:ext>
            </p:extLst>
          </p:nvPr>
        </p:nvGraphicFramePr>
        <p:xfrm>
          <a:off x="655636" y="4114800"/>
          <a:ext cx="11301275" cy="22630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430948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atch Mode on RowStor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Overview</a:t>
            </a:r>
            <a:endParaRPr lang="en-US" dirty="0"/>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2325686"/>
          </a:xfrm>
        </p:spPr>
        <p:txBody>
          <a:bodyPr>
            <a:normAutofit/>
          </a:bodyPr>
          <a:lstStyle/>
          <a:p>
            <a:pPr marL="0" indent="0">
              <a:buNone/>
            </a:pPr>
            <a:r>
              <a:rPr lang="en-US" dirty="0"/>
              <a:t>Even if a query does not access any tables with ColumnStore indexes, the query processor, using heuristics, will decide whether to consider batch mode.</a:t>
            </a:r>
          </a:p>
          <a:p>
            <a:pPr marL="0" indent="0">
              <a:buNone/>
            </a:pPr>
            <a:endParaRPr lang="en-US" dirty="0"/>
          </a:p>
          <a:p>
            <a:pPr marL="0" indent="0">
              <a:buNone/>
            </a:pPr>
            <a:r>
              <a:rPr lang="en-US" dirty="0"/>
              <a:t>If batch mode on rowstore is used, you see the actual run mode as </a:t>
            </a:r>
            <a:r>
              <a:rPr lang="en-US" b="1" dirty="0"/>
              <a:t>batch mode</a:t>
            </a:r>
            <a:r>
              <a:rPr lang="en-US" dirty="0"/>
              <a:t> in the query plan. </a:t>
            </a:r>
          </a:p>
          <a:p>
            <a:pPr marL="0" indent="0">
              <a:buNone/>
            </a:pPr>
            <a:endParaRPr lang="en-US" dirty="0"/>
          </a:p>
        </p:txBody>
      </p:sp>
      <p:graphicFrame>
        <p:nvGraphicFramePr>
          <p:cNvPr id="6" name="Diagram 5">
            <a:extLst>
              <a:ext uri="{FF2B5EF4-FFF2-40B4-BE49-F238E27FC236}">
                <a16:creationId xmlns:a16="http://schemas.microsoft.com/office/drawing/2014/main" id="{F967AF4A-2A1C-462A-B644-579C945DCE1E}"/>
              </a:ext>
            </a:extLst>
          </p:cNvPr>
          <p:cNvGraphicFramePr/>
          <p:nvPr>
            <p:extLst>
              <p:ext uri="{D42A27DB-BD31-4B8C-83A1-F6EECF244321}">
                <p14:modId xmlns:p14="http://schemas.microsoft.com/office/powerpoint/2010/main" val="2836458420"/>
              </p:ext>
            </p:extLst>
          </p:nvPr>
        </p:nvGraphicFramePr>
        <p:xfrm>
          <a:off x="533400" y="4176484"/>
          <a:ext cx="10880725" cy="18820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243606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atch Mode on Rowstor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Enabling/Disabling Batch Mode on Rowstore</a:t>
            </a:r>
          </a:p>
        </p:txBody>
      </p:sp>
      <p:sp>
        <p:nvSpPr>
          <p:cNvPr id="5" name="Content Placeholder 3">
            <a:extLst>
              <a:ext uri="{FF2B5EF4-FFF2-40B4-BE49-F238E27FC236}">
                <a16:creationId xmlns:a16="http://schemas.microsoft.com/office/drawing/2014/main" id="{1AD8A9F0-64D5-48AF-A056-EB187C5F6CEC}"/>
              </a:ext>
            </a:extLst>
          </p:cNvPr>
          <p:cNvSpPr>
            <a:spLocks noGrp="1"/>
          </p:cNvSpPr>
          <p:nvPr>
            <p:ph sz="quarter" idx="13"/>
          </p:nvPr>
        </p:nvSpPr>
        <p:spPr>
          <a:xfrm>
            <a:off x="655638" y="1408113"/>
            <a:ext cx="10880726" cy="5221287"/>
          </a:xfrm>
        </p:spPr>
        <p:txBody>
          <a:bodyPr>
            <a:normAutofit/>
          </a:bodyPr>
          <a:lstStyle/>
          <a:p>
            <a:r>
              <a:rPr lang="en-US" dirty="0"/>
              <a:t>Enabled by default in Compatibility level 150 or higher.</a:t>
            </a:r>
          </a:p>
          <a:p>
            <a:r>
              <a:rPr lang="en-US" dirty="0"/>
              <a:t>To disable change compatibility level to 140 or lower (not recommended).</a:t>
            </a:r>
          </a:p>
          <a:p>
            <a:r>
              <a:rPr lang="en-US" dirty="0"/>
              <a:t>You can enable/disable it at the database level.</a:t>
            </a:r>
          </a:p>
          <a:p>
            <a:endParaRPr lang="en-US" dirty="0"/>
          </a:p>
          <a:p>
            <a:r>
              <a:rPr lang="en-US" dirty="0"/>
              <a:t>You can disable it at statement scope if necessary.</a:t>
            </a:r>
          </a:p>
          <a:p>
            <a:endParaRPr lang="en-US" dirty="0"/>
          </a:p>
          <a:p>
            <a:endParaRPr lang="en-US" dirty="0"/>
          </a:p>
          <a:p>
            <a:r>
              <a:rPr lang="en-US" dirty="0"/>
              <a:t>Enable it at statement scope (even with the feature disabled at database level).</a:t>
            </a:r>
          </a:p>
          <a:p>
            <a:pPr marL="0" indent="0">
              <a:buNone/>
            </a:pPr>
            <a:endParaRPr lang="en-US" dirty="0"/>
          </a:p>
        </p:txBody>
      </p:sp>
      <p:sp>
        <p:nvSpPr>
          <p:cNvPr id="6" name="Rectangle 5">
            <a:extLst>
              <a:ext uri="{FF2B5EF4-FFF2-40B4-BE49-F238E27FC236}">
                <a16:creationId xmlns:a16="http://schemas.microsoft.com/office/drawing/2014/main" id="{1299D8ED-9125-42F0-BC98-71AC4A50AC72}"/>
              </a:ext>
            </a:extLst>
          </p:cNvPr>
          <p:cNvSpPr/>
          <p:nvPr/>
        </p:nvSpPr>
        <p:spPr>
          <a:xfrm>
            <a:off x="935734" y="2692767"/>
            <a:ext cx="11049002" cy="4616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BATCH_MODE_ON_ROWSTORE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b="1" dirty="0">
                <a:solidFill>
                  <a:srgbClr val="0000FF"/>
                </a:solidFill>
                <a:latin typeface="Consolas" panose="020B0609020204030204" pitchFamily="49" charset="0"/>
              </a:rPr>
              <a:t>ON</a:t>
            </a:r>
            <a:r>
              <a:rPr lang="en-US" dirty="0">
                <a:solidFill>
                  <a:srgbClr val="0000FF"/>
                </a:solidFill>
                <a:latin typeface="Consolas" panose="020B0609020204030204" pitchFamily="49" charset="0"/>
              </a:rPr>
              <a:t>|OFF</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p:txBody>
      </p:sp>
      <p:sp>
        <p:nvSpPr>
          <p:cNvPr id="8" name="Rectangle 7">
            <a:extLst>
              <a:ext uri="{FF2B5EF4-FFF2-40B4-BE49-F238E27FC236}">
                <a16:creationId xmlns:a16="http://schemas.microsoft.com/office/drawing/2014/main" id="{08AF5E7D-8C05-4C56-84A2-4EDBD776ECBB}"/>
              </a:ext>
            </a:extLst>
          </p:cNvPr>
          <p:cNvSpPr/>
          <p:nvPr/>
        </p:nvSpPr>
        <p:spPr>
          <a:xfrm>
            <a:off x="935734" y="3685270"/>
            <a:ext cx="10880725" cy="849338"/>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lt;statement&gt;</a:t>
            </a:r>
          </a:p>
          <a:p>
            <a:r>
              <a:rPr lang="en-US" dirty="0">
                <a:solidFill>
                  <a:srgbClr val="0000FF"/>
                </a:solidFill>
                <a:latin typeface="Consolas" panose="020B0609020204030204" pitchFamily="49" charset="0"/>
              </a:rPr>
              <a:t>OPTION</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RECOMPIL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DISALLOW_BATCH_MODE'</a:t>
            </a:r>
            <a:r>
              <a:rPr lang="en-US" dirty="0">
                <a:solidFill>
                  <a:srgbClr val="808080"/>
                </a:solidFill>
                <a:latin typeface="Consolas" panose="020B0609020204030204" pitchFamily="49" charset="0"/>
              </a:rPr>
              <a:t>));</a:t>
            </a:r>
            <a:endParaRPr lang="en-US" dirty="0">
              <a:solidFill>
                <a:srgbClr val="0000FF"/>
              </a:solidFill>
              <a:latin typeface="Consolas" panose="020B0609020204030204" pitchFamily="49" charset="0"/>
            </a:endParaRPr>
          </a:p>
        </p:txBody>
      </p:sp>
      <p:sp>
        <p:nvSpPr>
          <p:cNvPr id="7" name="Rectangle 6">
            <a:extLst>
              <a:ext uri="{FF2B5EF4-FFF2-40B4-BE49-F238E27FC236}">
                <a16:creationId xmlns:a16="http://schemas.microsoft.com/office/drawing/2014/main" id="{55881739-4493-4500-B37D-691110D338C7}"/>
              </a:ext>
            </a:extLst>
          </p:cNvPr>
          <p:cNvSpPr/>
          <p:nvPr/>
        </p:nvSpPr>
        <p:spPr>
          <a:xfrm>
            <a:off x="935734" y="5025218"/>
            <a:ext cx="10880725" cy="849338"/>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lt;statement&gt;</a:t>
            </a:r>
          </a:p>
          <a:p>
            <a:r>
              <a:rPr lang="en-US" dirty="0">
                <a:solidFill>
                  <a:srgbClr val="0000FF"/>
                </a:solidFill>
                <a:latin typeface="Consolas" panose="020B0609020204030204" pitchFamily="49" charset="0"/>
              </a:rPr>
              <a:t>OPTION</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RECOMPIL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ALLOW_BATCH_MODE'</a:t>
            </a:r>
            <a:r>
              <a:rPr lang="en-US" dirty="0">
                <a:solidFill>
                  <a:srgbClr val="808080"/>
                </a:solidFill>
                <a:latin typeface="Consolas" panose="020B0609020204030204" pitchFamily="49" charset="0"/>
              </a:rPr>
              <a:t>));</a:t>
            </a:r>
            <a:endParaRPr lang="en-US" dirty="0">
              <a:solidFill>
                <a:srgbClr val="0000FF"/>
              </a:solidFill>
              <a:latin typeface="Consolas" panose="020B0609020204030204" pitchFamily="49" charset="0"/>
            </a:endParaRPr>
          </a:p>
        </p:txBody>
      </p:sp>
    </p:spTree>
    <p:extLst>
      <p:ext uri="{BB962C8B-B14F-4D97-AF65-F5344CB8AC3E}">
        <p14:creationId xmlns:p14="http://schemas.microsoft.com/office/powerpoint/2010/main" val="35609692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calar UDF Inlin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T-SQL Scalar UDF performance issues</a:t>
            </a:r>
          </a:p>
        </p:txBody>
      </p:sp>
      <p:graphicFrame>
        <p:nvGraphicFramePr>
          <p:cNvPr id="5" name="Content Placeholder 3">
            <a:extLst>
              <a:ext uri="{FF2B5EF4-FFF2-40B4-BE49-F238E27FC236}">
                <a16:creationId xmlns:a16="http://schemas.microsoft.com/office/drawing/2014/main" id="{4B6F0E6F-291B-46F9-BE67-DC7BF90065BB}"/>
              </a:ext>
            </a:extLst>
          </p:cNvPr>
          <p:cNvGraphicFramePr>
            <a:graphicFrameLocks noGrp="1"/>
          </p:cNvGraphicFramePr>
          <p:nvPr>
            <p:ph sz="quarter" idx="13"/>
            <p:extLst>
              <p:ext uri="{D42A27DB-BD31-4B8C-83A1-F6EECF244321}">
                <p14:modId xmlns:p14="http://schemas.microsoft.com/office/powerpoint/2010/main" val="1291839663"/>
              </p:ext>
            </p:extLst>
          </p:nvPr>
        </p:nvGraphicFramePr>
        <p:xfrm>
          <a:off x="655637" y="1926275"/>
          <a:ext cx="10880725" cy="37125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329718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calar UDF Inlin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sp>
        <p:nvSpPr>
          <p:cNvPr id="6" name="Content Placeholder 5">
            <a:extLst>
              <a:ext uri="{FF2B5EF4-FFF2-40B4-BE49-F238E27FC236}">
                <a16:creationId xmlns:a16="http://schemas.microsoft.com/office/drawing/2014/main" id="{B2DA85DE-71D1-48B3-823A-E1808778A06F}"/>
              </a:ext>
            </a:extLst>
          </p:cNvPr>
          <p:cNvSpPr>
            <a:spLocks noGrp="1"/>
          </p:cNvSpPr>
          <p:nvPr>
            <p:ph sz="quarter" idx="13"/>
          </p:nvPr>
        </p:nvSpPr>
        <p:spPr>
          <a:xfrm>
            <a:off x="655638" y="1408114"/>
            <a:ext cx="10880726" cy="2020886"/>
          </a:xfrm>
        </p:spPr>
        <p:txBody>
          <a:bodyPr>
            <a:normAutofit/>
          </a:bodyPr>
          <a:lstStyle/>
          <a:p>
            <a:pPr marL="0" indent="0">
              <a:buNone/>
            </a:pPr>
            <a:r>
              <a:rPr lang="en-US" dirty="0"/>
              <a:t>The goal is to improve performance of queries that invoke T-SQL scalar UDFs, where UDF execution is the main bottleneck.</a:t>
            </a:r>
          </a:p>
          <a:p>
            <a:pPr marL="0" indent="0">
              <a:buNone/>
            </a:pPr>
            <a:endParaRPr lang="en-US" dirty="0"/>
          </a:p>
          <a:p>
            <a:pPr marL="0" indent="0">
              <a:buNone/>
            </a:pPr>
            <a:r>
              <a:rPr lang="en-US" dirty="0"/>
              <a:t>A scalar T-SQL UDF can not always be inline as conditions apply.</a:t>
            </a:r>
          </a:p>
          <a:p>
            <a:endParaRPr lang="en-US" dirty="0"/>
          </a:p>
          <a:p>
            <a:endParaRPr lang="en-US" dirty="0"/>
          </a:p>
        </p:txBody>
      </p:sp>
      <p:graphicFrame>
        <p:nvGraphicFramePr>
          <p:cNvPr id="4" name="Diagram 3">
            <a:extLst>
              <a:ext uri="{FF2B5EF4-FFF2-40B4-BE49-F238E27FC236}">
                <a16:creationId xmlns:a16="http://schemas.microsoft.com/office/drawing/2014/main" id="{C117F7AD-84C8-4D38-9A4A-B8E714D837FA}"/>
              </a:ext>
            </a:extLst>
          </p:cNvPr>
          <p:cNvGraphicFramePr/>
          <p:nvPr>
            <p:extLst>
              <p:ext uri="{D42A27DB-BD31-4B8C-83A1-F6EECF244321}">
                <p14:modId xmlns:p14="http://schemas.microsoft.com/office/powerpoint/2010/main" val="789856930"/>
              </p:ext>
            </p:extLst>
          </p:nvPr>
        </p:nvGraphicFramePr>
        <p:xfrm>
          <a:off x="655636" y="3170597"/>
          <a:ext cx="10880725" cy="3361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26542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calar UDF Inlin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Enabling/Disabling Scalar UDF Inlining</a:t>
            </a:r>
          </a:p>
        </p:txBody>
      </p:sp>
      <p:sp>
        <p:nvSpPr>
          <p:cNvPr id="5" name="Content Placeholder 3">
            <a:extLst>
              <a:ext uri="{FF2B5EF4-FFF2-40B4-BE49-F238E27FC236}">
                <a16:creationId xmlns:a16="http://schemas.microsoft.com/office/drawing/2014/main" id="{1AD8A9F0-64D5-48AF-A056-EB187C5F6CEC}"/>
              </a:ext>
            </a:extLst>
          </p:cNvPr>
          <p:cNvSpPr>
            <a:spLocks noGrp="1"/>
          </p:cNvSpPr>
          <p:nvPr>
            <p:ph sz="quarter" idx="13"/>
          </p:nvPr>
        </p:nvSpPr>
        <p:spPr>
          <a:xfrm>
            <a:off x="655638" y="1408113"/>
            <a:ext cx="10880726" cy="4663503"/>
          </a:xfrm>
        </p:spPr>
        <p:txBody>
          <a:bodyPr>
            <a:normAutofit/>
          </a:bodyPr>
          <a:lstStyle/>
          <a:p>
            <a:r>
              <a:rPr lang="en-US" dirty="0"/>
              <a:t>Enabled by default in Compatibility level 150 or higher.</a:t>
            </a:r>
          </a:p>
          <a:p>
            <a:r>
              <a:rPr lang="en-US" dirty="0"/>
              <a:t>To disable change compatibility level to 140 or lower (not recommended).</a:t>
            </a:r>
          </a:p>
          <a:p>
            <a:r>
              <a:rPr lang="en-US" dirty="0"/>
              <a:t>You can enable/disable it at the database level.</a:t>
            </a:r>
          </a:p>
          <a:p>
            <a:endParaRPr lang="en-US" dirty="0"/>
          </a:p>
          <a:p>
            <a:r>
              <a:rPr lang="en-US" dirty="0"/>
              <a:t>You can disable it at statement scope if necessary.</a:t>
            </a:r>
          </a:p>
        </p:txBody>
      </p:sp>
      <p:sp>
        <p:nvSpPr>
          <p:cNvPr id="6" name="Rectangle 5">
            <a:extLst>
              <a:ext uri="{FF2B5EF4-FFF2-40B4-BE49-F238E27FC236}">
                <a16:creationId xmlns:a16="http://schemas.microsoft.com/office/drawing/2014/main" id="{1299D8ED-9125-42F0-BC98-71AC4A50AC72}"/>
              </a:ext>
            </a:extLst>
          </p:cNvPr>
          <p:cNvSpPr/>
          <p:nvPr/>
        </p:nvSpPr>
        <p:spPr>
          <a:xfrm>
            <a:off x="926590" y="2680575"/>
            <a:ext cx="11049002" cy="4616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COPE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NFIGURATIO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TSQL_SCALAR_UDF_INLINING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b="1" dirty="0">
                <a:solidFill>
                  <a:srgbClr val="0000FF"/>
                </a:solidFill>
                <a:latin typeface="Consolas" panose="020B0609020204030204" pitchFamily="49" charset="0"/>
              </a:rPr>
              <a:t>ON</a:t>
            </a:r>
            <a:r>
              <a:rPr lang="en-US" dirty="0">
                <a:solidFill>
                  <a:srgbClr val="0000FF"/>
                </a:solidFill>
                <a:latin typeface="Consolas" panose="020B0609020204030204" pitchFamily="49" charset="0"/>
              </a:rPr>
              <a:t>|OFF</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p:txBody>
      </p:sp>
      <p:sp>
        <p:nvSpPr>
          <p:cNvPr id="8" name="Rectangle 7">
            <a:extLst>
              <a:ext uri="{FF2B5EF4-FFF2-40B4-BE49-F238E27FC236}">
                <a16:creationId xmlns:a16="http://schemas.microsoft.com/office/drawing/2014/main" id="{08AF5E7D-8C05-4C56-84A2-4EDBD776ECBB}"/>
              </a:ext>
            </a:extLst>
          </p:cNvPr>
          <p:cNvSpPr/>
          <p:nvPr/>
        </p:nvSpPr>
        <p:spPr>
          <a:xfrm>
            <a:off x="926590" y="3689383"/>
            <a:ext cx="10880725" cy="849338"/>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lt;statement&gt;</a:t>
            </a:r>
          </a:p>
          <a:p>
            <a:r>
              <a:rPr lang="en-US" dirty="0">
                <a:solidFill>
                  <a:srgbClr val="0000FF"/>
                </a:solidFill>
                <a:latin typeface="Consolas" panose="020B0609020204030204" pitchFamily="49" charset="0"/>
              </a:rPr>
              <a:t>OPTION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DISABLE_TSQL_SCALAR_UDF_INLINING'</a:t>
            </a:r>
            <a:r>
              <a:rPr lang="en-US" dirty="0">
                <a:solidFill>
                  <a:srgbClr val="808080"/>
                </a:solidFill>
                <a:latin typeface="Consolas" panose="020B0609020204030204" pitchFamily="49" charset="0"/>
              </a:rPr>
              <a:t>));</a:t>
            </a:r>
            <a:endParaRPr lang="en-US" dirty="0">
              <a:solidFill>
                <a:srgbClr val="0000FF"/>
              </a:solidFill>
              <a:latin typeface="Consolas" panose="020B0609020204030204" pitchFamily="49" charset="0"/>
            </a:endParaRPr>
          </a:p>
        </p:txBody>
      </p:sp>
    </p:spTree>
    <p:extLst>
      <p:ext uri="{BB962C8B-B14F-4D97-AF65-F5344CB8AC3E}">
        <p14:creationId xmlns:p14="http://schemas.microsoft.com/office/powerpoint/2010/main" val="32778726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Intelligent query processing</a:t>
            </a:r>
          </a:p>
          <a:p>
            <a:pPr marL="342900" indent="-342900">
              <a:buFont typeface="Arial" panose="020B0604020202020204" pitchFamily="34" charset="0"/>
              <a:buChar char="•"/>
            </a:pPr>
            <a:r>
              <a:rPr lang="en-US" sz="2000" dirty="0"/>
              <a:t>Interleaved Execution</a:t>
            </a:r>
          </a:p>
          <a:p>
            <a:pPr marL="342900" indent="-342900">
              <a:buFont typeface="Arial" panose="020B0604020202020204" pitchFamily="34" charset="0"/>
              <a:buChar char="•"/>
            </a:pPr>
            <a:r>
              <a:rPr lang="en-US" sz="2000" dirty="0"/>
              <a:t>Batch Mode on RowStore</a:t>
            </a:r>
          </a:p>
          <a:p>
            <a:pPr marL="342900" indent="-342900">
              <a:buFont typeface="Arial" panose="020B0604020202020204" pitchFamily="34" charset="0"/>
              <a:buChar char="•"/>
            </a:pPr>
            <a:r>
              <a:rPr lang="en-US" sz="2000" dirty="0"/>
              <a:t>Memory Grant Feedback (Row Mod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006523152"/>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Intelligent query processing</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a:xfrm>
            <a:off x="655638" y="2971800"/>
            <a:ext cx="4352925" cy="3560636"/>
          </a:xfrm>
        </p:spPr>
        <p:txBody>
          <a:bodyPr/>
          <a:lstStyle/>
          <a:p>
            <a:pPr marL="342900" indent="-342900">
              <a:buFont typeface="Arial" panose="020B0604020202020204" pitchFamily="34" charset="0"/>
              <a:buChar char="•"/>
            </a:pPr>
            <a:r>
              <a:rPr lang="en-US" dirty="0"/>
              <a:t>Observing Batch-Mode Memory Grant Feedback</a:t>
            </a:r>
          </a:p>
          <a:p>
            <a:pPr marL="342900" indent="-342900">
              <a:buFont typeface="Arial" panose="020B0604020202020204" pitchFamily="34" charset="0"/>
              <a:buChar char="•"/>
            </a:pPr>
            <a:r>
              <a:rPr lang="en-US" dirty="0"/>
              <a:t>Using APPROX_COUNT_DISTINCT to improve performance</a:t>
            </a:r>
          </a:p>
          <a:p>
            <a:pPr marL="342900" indent="-342900">
              <a:buFont typeface="Arial" panose="020B0604020202020204" pitchFamily="34" charset="0"/>
              <a:buChar char="•"/>
            </a:pPr>
            <a:r>
              <a:rPr lang="en-US" dirty="0"/>
              <a:t>Observing Table Variable Deferred Compilation</a:t>
            </a:r>
          </a:p>
          <a:p>
            <a:pPr marL="342900" indent="-342900">
              <a:buFont typeface="Arial" panose="020B0604020202020204" pitchFamily="34" charset="0"/>
              <a:buChar char="•"/>
            </a:pPr>
            <a:r>
              <a:rPr lang="en-US" dirty="0"/>
              <a:t>Observing Scalar UDF Inlining</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528516655"/>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76975876"/>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53221186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44633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algn="l" defTabSz="457112" rtl="0" eaLnBrk="1" fontAlgn="auto" latinLnBrk="0" hangingPunct="1">
              <a:lnSpc>
                <a:spcPts val="3500"/>
              </a:lnSpc>
              <a:spcBef>
                <a:spcPct val="0"/>
              </a:spcBef>
              <a:spcAft>
                <a:spcPts val="0"/>
              </a:spcAft>
              <a:buClrTx/>
              <a:buSzTx/>
              <a:buFontTx/>
              <a:buNone/>
              <a:tabLst/>
              <a:defRPr/>
            </a:pPr>
            <a:r>
              <a:rPr kumimoji="0" lang="en-US" altLang="en-US" sz="4400" b="0" i="0" u="none" strike="noStrike" kern="1200" cap="none" spc="0" normalizeH="0" baseline="0" noProof="0" dirty="0">
                <a:ln>
                  <a:noFill/>
                </a:ln>
                <a:solidFill>
                  <a:srgbClr val="2098D5">
                    <a:lumMod val="75000"/>
                  </a:srgbClr>
                </a:solidFill>
                <a:effectLst/>
                <a:uLnTx/>
                <a:uFillTx/>
                <a:latin typeface="Segoe UI"/>
                <a:ea typeface="+mj-ea"/>
                <a:cs typeface="Segoe UI Light"/>
              </a:rPr>
              <a:t>What does the binding step resolve?</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29000"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accent4">
              <a:lumMod val="20000"/>
              <a:lumOff val="80000"/>
            </a:schemeClr>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Query Plan Created</a:t>
            </a:r>
            <a:endParaRPr kumimoji="0" lang="en-US" sz="16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36" name="Rectangle 35"/>
          <p:cNvSpPr/>
          <p:nvPr/>
        </p:nvSpPr>
        <p:spPr>
          <a:xfrm>
            <a:off x="882094" y="2669605"/>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implification and Statistics</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Trivial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10" y="1569314"/>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imple Query Tables &lt;=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st &lt; 0.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1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9" name="Rectangle 188">
            <a:extLst>
              <a:ext uri="{FF2B5EF4-FFF2-40B4-BE49-F238E27FC236}">
                <a16:creationId xmlns:a16="http://schemas.microsoft.com/office/drawing/2014/main" id="{55EA44B2-AC6C-4A1E-8BA9-4D4384B3CE58}"/>
              </a:ext>
            </a:extLst>
          </p:cNvPr>
          <p:cNvSpPr/>
          <p:nvPr/>
        </p:nvSpPr>
        <p:spPr>
          <a:xfrm>
            <a:off x="6364832" y="3908048"/>
            <a:ext cx="1586862" cy="892552"/>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st &lt; 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  MAXDOP =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st &gt; Cost Threshold for Parallelis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1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441024"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Segoe UI"/>
                  <a:ea typeface="+mn-ea"/>
                  <a:cs typeface="+mn-cs"/>
                </a:rPr>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mpare Plans and Full Optimization</a:t>
            </a:r>
          </a:p>
        </p:txBody>
      </p:sp>
    </p:spTree>
    <p:extLst>
      <p:ext uri="{BB962C8B-B14F-4D97-AF65-F5344CB8AC3E}">
        <p14:creationId xmlns:p14="http://schemas.microsoft.com/office/powerpoint/2010/main" val="3948372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829D1EC-E3E0-4457-9E80-A49963D51023}"/>
              </a:ext>
            </a:extLst>
          </p:cNvPr>
          <p:cNvGraphicFramePr/>
          <p:nvPr/>
        </p:nvGraphicFramePr>
        <p:xfrm>
          <a:off x="535259" y="857260"/>
          <a:ext cx="11117765" cy="5384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67EA4E03-4FFD-4170-A431-6404A9119734}"/>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algn="l" defTabSz="457112" rtl="0" eaLnBrk="1" fontAlgn="auto" latinLnBrk="0" hangingPunct="1">
              <a:lnSpc>
                <a:spcPts val="3500"/>
              </a:lnSpc>
              <a:spcBef>
                <a:spcPct val="0"/>
              </a:spcBef>
              <a:spcAft>
                <a:spcPts val="0"/>
              </a:spcAft>
              <a:buClrTx/>
              <a:buSzTx/>
              <a:buFontTx/>
              <a:buNone/>
              <a:tabLst/>
              <a:defRPr/>
            </a:pPr>
            <a:r>
              <a:rPr kumimoji="0" lang="en-US" altLang="en-US" sz="4400" b="0" i="0" u="none" strike="noStrike" kern="1200" cap="none" spc="0" normalizeH="0" baseline="0" noProof="0" dirty="0">
                <a:ln>
                  <a:noFill/>
                </a:ln>
                <a:solidFill>
                  <a:srgbClr val="2098D5">
                    <a:lumMod val="75000"/>
                  </a:srgbClr>
                </a:solidFill>
                <a:effectLst/>
                <a:uLnTx/>
                <a:uFillTx/>
                <a:latin typeface="Segoe UI"/>
                <a:ea typeface="+mj-ea"/>
                <a:cs typeface="Segoe UI Light"/>
              </a:rPr>
              <a:t>Query Simplification phases</a:t>
            </a:r>
          </a:p>
        </p:txBody>
      </p:sp>
    </p:spTree>
    <p:extLst>
      <p:ext uri="{BB962C8B-B14F-4D97-AF65-F5344CB8AC3E}">
        <p14:creationId xmlns:p14="http://schemas.microsoft.com/office/powerpoint/2010/main" val="542595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801D87DF-ECCF-413F-857F-FA7562D70F05}"/>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panose="020B0502040204020203" pitchFamily="34" charset="0"/>
              </a:rPr>
              <a:t>What is an Execution Plan?</a:t>
            </a:r>
          </a:p>
        </p:txBody>
      </p:sp>
      <p:pic>
        <p:nvPicPr>
          <p:cNvPr id="4" name="Picture 3">
            <a:extLst>
              <a:ext uri="{FF2B5EF4-FFF2-40B4-BE49-F238E27FC236}">
                <a16:creationId xmlns:a16="http://schemas.microsoft.com/office/drawing/2014/main" id="{A59E8D7D-FD9B-4470-A2BC-D4A2B39E28FD}"/>
              </a:ext>
            </a:extLst>
          </p:cNvPr>
          <p:cNvPicPr>
            <a:picLocks noChangeAspect="1"/>
          </p:cNvPicPr>
          <p:nvPr/>
        </p:nvPicPr>
        <p:blipFill>
          <a:blip r:embed="rId2"/>
          <a:stretch>
            <a:fillRect/>
          </a:stretch>
        </p:blipFill>
        <p:spPr>
          <a:xfrm>
            <a:off x="2510301" y="1116349"/>
            <a:ext cx="6868730" cy="544012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0241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3.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4.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5.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10.xml><?xml version="1.0" encoding="utf-8"?>
<ds:datastoreItem xmlns:ds="http://schemas.openxmlformats.org/officeDocument/2006/customXml" ds:itemID="{35A184F6-9A4D-432E-BD2E-8543C142498D}">
  <ds:schemaRefs>
    <ds:schemaRef ds:uri="Strauss.PersonalizationDefinition"/>
  </ds:schemaRefs>
</ds:datastoreItem>
</file>

<file path=customXml/itemProps11.xml><?xml version="1.0" encoding="utf-8"?>
<ds:datastoreItem xmlns:ds="http://schemas.openxmlformats.org/officeDocument/2006/customXml" ds:itemID="{9CFE9A22-C3CB-45B7-B365-FE59FD6BB66B}">
  <ds:schemaRefs>
    <ds:schemaRef ds:uri="Strauss.PersonalizationDefinition"/>
  </ds:schemaRefs>
</ds:datastoreItem>
</file>

<file path=customXml/itemProps2.xml><?xml version="1.0" encoding="utf-8"?>
<ds:datastoreItem xmlns:ds="http://schemas.openxmlformats.org/officeDocument/2006/customXml" ds:itemID="{7C42A160-080E-4178-8FDB-B5422D4D778A}">
  <ds:schemaRefs>
    <ds:schemaRef ds:uri="Strauss.PersonalizationDefinition"/>
  </ds:schemaRefs>
</ds:datastoreItem>
</file>

<file path=customXml/itemProps3.xml><?xml version="1.0" encoding="utf-8"?>
<ds:datastoreItem xmlns:ds="http://schemas.openxmlformats.org/officeDocument/2006/customXml" ds:itemID="{9EEC7FED-AC7D-45C9-8F29-C2C8A7233C3D}">
  <ds:schemaRefs>
    <ds:schemaRef ds:uri="Strauss.PersonalizationDefinition"/>
  </ds:schemaRefs>
</ds:datastoreItem>
</file>

<file path=customXml/itemProps4.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5.xml><?xml version="1.0" encoding="utf-8"?>
<ds:datastoreItem xmlns:ds="http://schemas.openxmlformats.org/officeDocument/2006/customXml" ds:itemID="{CD086AF5-CCD3-41C8-B98A-2B159789D38E}">
  <ds:schemaRefs>
    <ds:schemaRef ds:uri="Strauss.PersonalizationDefinition"/>
  </ds:schemaRefs>
</ds:datastoreItem>
</file>

<file path=customXml/itemProps6.xml><?xml version="1.0" encoding="utf-8"?>
<ds:datastoreItem xmlns:ds="http://schemas.openxmlformats.org/officeDocument/2006/customXml" ds:itemID="{EBCC33FC-94BB-4B1D-A4C6-D2E6A3A4B1FD}">
  <ds:schemaRefs>
    <ds:schemaRef ds:uri="Strauss.PersonalizationDefinition"/>
  </ds:schemaRefs>
</ds:datastoreItem>
</file>

<file path=customXml/itemProps7.xml><?xml version="1.0" encoding="utf-8"?>
<ds:datastoreItem xmlns:ds="http://schemas.openxmlformats.org/officeDocument/2006/customXml" ds:itemID="{4C04CDDE-2D6B-4F45-8A75-E18007E562B8}">
  <ds:schemaRefs>
    <ds:schemaRef ds:uri="Strauss.PersonalizationDefinition"/>
  </ds:schemaRefs>
</ds:datastoreItem>
</file>

<file path=customXml/itemProps8.xml><?xml version="1.0" encoding="utf-8"?>
<ds:datastoreItem xmlns:ds="http://schemas.openxmlformats.org/officeDocument/2006/customXml" ds:itemID="{28FFC16B-1713-4A04-87E3-9B24079C8B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9.xml><?xml version="1.0" encoding="utf-8"?>
<ds:datastoreItem xmlns:ds="http://schemas.openxmlformats.org/officeDocument/2006/customXml" ds:itemID="{75C05EC8-D295-4080-807A-6EA8C339A65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5314</TotalTime>
  <Words>11712</Words>
  <Application>Microsoft Office PowerPoint</Application>
  <PresentationFormat>Widescreen</PresentationFormat>
  <Paragraphs>919</Paragraphs>
  <Slides>60</Slides>
  <Notes>47</Notes>
  <HiddenSlides>0</HiddenSlides>
  <MMClips>0</MMClips>
  <ScaleCrop>false</ScaleCrop>
  <HeadingPairs>
    <vt:vector size="6" baseType="variant">
      <vt:variant>
        <vt:lpstr>Fonts Used</vt:lpstr>
      </vt:variant>
      <vt:variant>
        <vt:i4>16</vt:i4>
      </vt:variant>
      <vt:variant>
        <vt:lpstr>Theme</vt:lpstr>
      </vt:variant>
      <vt:variant>
        <vt:i4>4</vt:i4>
      </vt:variant>
      <vt:variant>
        <vt:lpstr>Slide Titles</vt:lpstr>
      </vt:variant>
      <vt:variant>
        <vt:i4>60</vt:i4>
      </vt:variant>
    </vt:vector>
  </HeadingPairs>
  <TitlesOfParts>
    <vt:vector size="80" baseType="lpstr">
      <vt:lpstr>&amp;quot</vt:lpstr>
      <vt:lpstr>Arial</vt:lpstr>
      <vt:lpstr>Arial Black</vt:lpstr>
      <vt:lpstr>Calibri</vt:lpstr>
      <vt:lpstr>Calibri Light</vt:lpstr>
      <vt:lpstr>Century Gothic</vt:lpstr>
      <vt:lpstr>Comic Sans MS</vt:lpstr>
      <vt:lpstr>Consolas</vt:lpstr>
      <vt:lpstr>Courier New</vt:lpstr>
      <vt:lpstr>Lucida Console</vt:lpstr>
      <vt:lpstr>Segoe UI</vt:lpstr>
      <vt:lpstr>Segoe UI Light</vt:lpstr>
      <vt:lpstr>Segoe UI Semibold</vt:lpstr>
      <vt:lpstr>Symbol</vt:lpstr>
      <vt:lpstr>Times New Roman</vt:lpstr>
      <vt:lpstr>Wingdings</vt:lpstr>
      <vt:lpstr>PASS 2013_SpeakerTemplate_Final</vt:lpstr>
      <vt:lpstr>1_PASS 2013_SpeakerTemplate_Final</vt:lpstr>
      <vt:lpstr>Workshop</vt:lpstr>
      <vt:lpstr>1_Dark Blue</vt:lpstr>
      <vt:lpstr>SQL Server Query Execution and Plans</vt:lpstr>
      <vt:lpstr>Learning Units covered in this Module</vt:lpstr>
      <vt:lpstr>Lesson 1: SQL Server Query Execution</vt:lpstr>
      <vt:lpstr>Objectives</vt:lpstr>
      <vt:lpstr>PowerPoint Presentation</vt:lpstr>
      <vt:lpstr>PowerPoint Presentation</vt:lpstr>
      <vt:lpstr>PowerPoint Presentation</vt:lpstr>
      <vt:lpstr>PowerPoint Presentation</vt:lpstr>
      <vt:lpstr>PowerPoint Presentation</vt:lpstr>
      <vt:lpstr>How to see the query plan</vt:lpstr>
      <vt:lpstr>SQL Server Execution Plan </vt:lpstr>
      <vt:lpstr>SQL Server Execution Plan </vt:lpstr>
      <vt:lpstr>SQL Server Execution Plan  Caching</vt:lpstr>
      <vt:lpstr>SQL Server compilation and execution</vt:lpstr>
      <vt:lpstr>SQL Server Execution Plan Recompilations </vt:lpstr>
      <vt:lpstr>SQL Server Execution Plan Recompilations </vt:lpstr>
      <vt:lpstr>Questions?</vt:lpstr>
      <vt:lpstr>Knowledge Check</vt:lpstr>
      <vt:lpstr>Lesson 2: SQL Server Query Plan Analysis</vt:lpstr>
      <vt:lpstr>Objectives</vt:lpstr>
      <vt:lpstr>How to see the query plan</vt:lpstr>
      <vt:lpstr>Contents of an Execution Plan</vt:lpstr>
      <vt:lpstr>How to see the query plan</vt:lpstr>
      <vt:lpstr>SSMS Graphical Plan</vt:lpstr>
      <vt:lpstr>SSMS Graphical Plan</vt:lpstr>
      <vt:lpstr>SSMS Graphical Plan</vt:lpstr>
      <vt:lpstr>SSMS Graphical Plan</vt:lpstr>
      <vt:lpstr>Execution Plan</vt:lpstr>
      <vt:lpstr>PowerPoint Presentation</vt:lpstr>
      <vt:lpstr>PowerPoint Presentation</vt:lpstr>
      <vt:lpstr>PowerPoint Presentation</vt:lpstr>
      <vt:lpstr>What to look for in the query plan</vt:lpstr>
      <vt:lpstr>Demonstration</vt:lpstr>
      <vt:lpstr>Query Plan Analysis</vt:lpstr>
      <vt:lpstr>Questions?</vt:lpstr>
      <vt:lpstr>Knowledge Check</vt:lpstr>
      <vt:lpstr>Lesson 3: SQL Server Intelligent Query Processing</vt:lpstr>
      <vt:lpstr>Objectives</vt:lpstr>
      <vt:lpstr>Intelligent query processing</vt:lpstr>
      <vt:lpstr>Adaptive joins (Batch mode)</vt:lpstr>
      <vt:lpstr>Adaptive joins (Batch mode)</vt:lpstr>
      <vt:lpstr>Interleaved Execution</vt:lpstr>
      <vt:lpstr>Interleaved Execution</vt:lpstr>
      <vt:lpstr>Memory Grant Feedback (Batch Mode)</vt:lpstr>
      <vt:lpstr>Memory Grant Feedback (Batch Mode)</vt:lpstr>
      <vt:lpstr>Memory Grant Feedback (Row Mode)</vt:lpstr>
      <vt:lpstr>Memory Grant Feedback (Row Mode)</vt:lpstr>
      <vt:lpstr>Table Variable Deferred Compilation</vt:lpstr>
      <vt:lpstr>Table Variable Deferred Compilation</vt:lpstr>
      <vt:lpstr>Approximate Count Distinct</vt:lpstr>
      <vt:lpstr>Batch Mode on RowStore</vt:lpstr>
      <vt:lpstr>Batch Mode on Rowstore</vt:lpstr>
      <vt:lpstr>Scalar UDF Inlining</vt:lpstr>
      <vt:lpstr>Scalar UDF Inlining</vt:lpstr>
      <vt:lpstr>Scalar UDF Inlining</vt:lpstr>
      <vt:lpstr>Demonstration</vt:lpstr>
      <vt:lpstr>Intelligent query processing</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83</cp:revision>
  <dcterms:created xsi:type="dcterms:W3CDTF">2019-08-12T16:24:54Z</dcterms:created>
  <dcterms:modified xsi:type="dcterms:W3CDTF">2023-02-07T13:5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